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1.xml" ContentType="application/vnd.openxmlformats-officedocument.drawingml.char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1" r:id="rId2"/>
    <p:sldMasterId id="2147483701" r:id="rId3"/>
    <p:sldMasterId id="2147483712" r:id="rId4"/>
  </p:sldMasterIdLst>
  <p:notesMasterIdLst>
    <p:notesMasterId r:id="rId22"/>
  </p:notesMasterIdLst>
  <p:handoutMasterIdLst>
    <p:handoutMasterId r:id="rId23"/>
  </p:handoutMasterIdLst>
  <p:sldIdLst>
    <p:sldId id="256" r:id="rId5"/>
    <p:sldId id="294" r:id="rId6"/>
    <p:sldId id="289" r:id="rId7"/>
    <p:sldId id="278" r:id="rId8"/>
    <p:sldId id="279" r:id="rId9"/>
    <p:sldId id="282" r:id="rId10"/>
    <p:sldId id="281" r:id="rId11"/>
    <p:sldId id="280" r:id="rId12"/>
    <p:sldId id="275" r:id="rId13"/>
    <p:sldId id="283" r:id="rId14"/>
    <p:sldId id="284" r:id="rId15"/>
    <p:sldId id="285" r:id="rId16"/>
    <p:sldId id="260" r:id="rId17"/>
    <p:sldId id="293" r:id="rId18"/>
    <p:sldId id="290" r:id="rId19"/>
    <p:sldId id="291" r:id="rId20"/>
    <p:sldId id="292" r:id="rId21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434" autoAdjust="0"/>
  </p:normalViewPr>
  <p:slideViewPr>
    <p:cSldViewPr snapToGrid="0" showGuides="1">
      <p:cViewPr varScale="1">
        <p:scale>
          <a:sx n="98" d="100"/>
          <a:sy n="98" d="100"/>
        </p:scale>
        <p:origin x="600" y="8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54" d="100"/>
          <a:sy n="54" d="100"/>
        </p:scale>
        <p:origin x="2820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Jobs in </a:t>
            </a:r>
            <a:r>
              <a:rPr lang="en-US" dirty="0" err="1">
                <a:solidFill>
                  <a:srgbClr val="92D050"/>
                </a:solidFill>
              </a:rPr>
              <a:t>QlikView</a:t>
            </a:r>
            <a:r>
              <a:rPr lang="en-US" dirty="0"/>
              <a:t> as of </a:t>
            </a:r>
            <a:r>
              <a:rPr lang="en-US" dirty="0" smtClean="0"/>
              <a:t>16</a:t>
            </a:r>
            <a:r>
              <a:rPr lang="en-US" baseline="30000" dirty="0" smtClean="0"/>
              <a:t>th</a:t>
            </a:r>
            <a:r>
              <a:rPr lang="en-US" dirty="0" smtClean="0"/>
              <a:t> </a:t>
            </a:r>
            <a:r>
              <a:rPr lang="en-US" dirty="0"/>
              <a:t>August 2015</a:t>
            </a:r>
          </a:p>
        </c:rich>
      </c:tx>
      <c:layout>
        <c:manualLayout>
          <c:xMode val="edge"/>
          <c:yMode val="edge"/>
          <c:x val="0.19966140531060617"/>
          <c:y val="3.7037037037037035E-2"/>
        </c:manualLayout>
      </c:layout>
      <c:overlay val="0"/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# of Jobs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 i="0" baseline="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Bengaluru</c:v>
                </c:pt>
                <c:pt idx="1">
                  <c:v>Delhi / NCR</c:v>
                </c:pt>
                <c:pt idx="2">
                  <c:v>Mumbai</c:v>
                </c:pt>
                <c:pt idx="3">
                  <c:v>Chennai</c:v>
                </c:pt>
                <c:pt idx="4">
                  <c:v>Gurgaon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82</c:v>
                </c:pt>
                <c:pt idx="1">
                  <c:v>78</c:v>
                </c:pt>
                <c:pt idx="2">
                  <c:v>69</c:v>
                </c:pt>
                <c:pt idx="3">
                  <c:v>47</c:v>
                </c:pt>
                <c:pt idx="4">
                  <c:v>4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8806368"/>
        <c:axId val="228804688"/>
      </c:barChart>
      <c:catAx>
        <c:axId val="228806368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 i="0" baseline="0"/>
            </a:pPr>
            <a:endParaRPr lang="en-US"/>
          </a:p>
        </c:txPr>
        <c:crossAx val="228804688"/>
        <c:crosses val="autoZero"/>
        <c:auto val="1"/>
        <c:lblAlgn val="ctr"/>
        <c:lblOffset val="100"/>
        <c:noMultiLvlLbl val="0"/>
      </c:catAx>
      <c:valAx>
        <c:axId val="2288046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2880636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67AC82F-2B0C-406E-ABBA-8523F83CA99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393F488-468C-4D73-86D1-ECABEA6635FE}">
      <dgm:prSet custT="1"/>
      <dgm:spPr>
        <a:solidFill>
          <a:schemeClr val="accent4">
            <a:lumMod val="50000"/>
          </a:schemeClr>
        </a:solidFill>
      </dgm:spPr>
      <dgm:t>
        <a:bodyPr/>
        <a:lstStyle/>
        <a:p>
          <a:pPr rtl="0"/>
          <a:r>
            <a: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Founded in Sweden in 1993 by </a:t>
          </a:r>
          <a:r>
            <a:rPr lang="en-US" sz="1200" dirty="0" err="1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Björn</a:t>
          </a:r>
          <a:r>
            <a: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Berg and </a:t>
          </a:r>
          <a:r>
            <a:rPr lang="en-US" sz="1200" dirty="0" err="1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Staffan</a:t>
          </a:r>
          <a:r>
            <a: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</a:t>
          </a:r>
          <a:r>
            <a:rPr lang="en-US" sz="1200" dirty="0" err="1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Gestrelius</a:t>
          </a:r>
          <a:r>
            <a: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originally as a consultancy</a:t>
          </a:r>
          <a:endParaRPr lang="en-US" sz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2F2B76BB-E76D-4204-8EDF-BD91CC7CBF79}" type="parTrans" cxnId="{F53F15F4-1921-439A-BD8D-661A7B18A3E4}">
      <dgm:prSet/>
      <dgm:spPr/>
      <dgm:t>
        <a:bodyPr/>
        <a:lstStyle/>
        <a:p>
          <a:endParaRPr lang="en-US" sz="12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4CBDA8C8-5767-46AD-A599-C824C0142460}" type="sibTrans" cxnId="{F53F15F4-1921-439A-BD8D-661A7B18A3E4}">
      <dgm:prSet/>
      <dgm:spPr/>
      <dgm:t>
        <a:bodyPr/>
        <a:lstStyle/>
        <a:p>
          <a:endParaRPr lang="en-US" sz="12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86A337FD-9371-469E-B649-0505D1DAF866}">
      <dgm:prSet custT="1"/>
      <dgm:spPr>
        <a:solidFill>
          <a:schemeClr val="accent4">
            <a:lumMod val="50000"/>
          </a:schemeClr>
        </a:solidFill>
      </dgm:spPr>
      <dgm:t>
        <a:bodyPr/>
        <a:lstStyle/>
        <a:p>
          <a:pPr rtl="0"/>
          <a:r>
            <a:rPr lang="en-US" sz="120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Originally called “QuikView” as in “Quality, Understanding, Interaction, Knowledge”</a:t>
          </a:r>
          <a:endParaRPr lang="en-US" sz="12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CCBC5921-080E-4B58-9B6D-6D257D14C747}" type="parTrans" cxnId="{FAC40582-B2B2-43D3-B6F1-895A06A074D2}">
      <dgm:prSet/>
      <dgm:spPr/>
      <dgm:t>
        <a:bodyPr/>
        <a:lstStyle/>
        <a:p>
          <a:endParaRPr lang="en-US" sz="12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A588478-736E-4871-B0E4-96FAFCCEAE46}" type="sibTrans" cxnId="{FAC40582-B2B2-43D3-B6F1-895A06A074D2}">
      <dgm:prSet/>
      <dgm:spPr/>
      <dgm:t>
        <a:bodyPr/>
        <a:lstStyle/>
        <a:p>
          <a:endParaRPr lang="en-US" sz="12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ABC1C456-6033-4EE3-8694-01F116D1F7E2}">
      <dgm:prSet custT="1"/>
      <dgm:spPr>
        <a:solidFill>
          <a:schemeClr val="accent4">
            <a:lumMod val="50000"/>
          </a:schemeClr>
        </a:solidFill>
      </dgm:spPr>
      <dgm:t>
        <a:bodyPr/>
        <a:lstStyle/>
        <a:p>
          <a:pPr rtl="0"/>
          <a:r>
            <a:rPr lang="en-US" sz="120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Product was designed to mimic the way the brain works</a:t>
          </a:r>
          <a:endParaRPr lang="en-US" sz="12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EBDFD2B-892C-4F0C-A31A-434211C76C1E}" type="parTrans" cxnId="{67512238-110D-46B8-9BF8-7556D788EC68}">
      <dgm:prSet/>
      <dgm:spPr/>
      <dgm:t>
        <a:bodyPr/>
        <a:lstStyle/>
        <a:p>
          <a:endParaRPr lang="en-US" sz="12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CFCEBAE1-90BC-430B-A476-EDCAC331345E}" type="sibTrans" cxnId="{67512238-110D-46B8-9BF8-7556D788EC68}">
      <dgm:prSet/>
      <dgm:spPr/>
      <dgm:t>
        <a:bodyPr/>
        <a:lstStyle/>
        <a:p>
          <a:endParaRPr lang="en-US" sz="12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2EF3B89-4603-446F-B954-77817427CBF1}">
      <dgm:prSet custT="1"/>
      <dgm:spPr>
        <a:solidFill>
          <a:schemeClr val="accent4">
            <a:lumMod val="50000"/>
          </a:schemeClr>
        </a:solidFill>
      </dgm:spPr>
      <dgm:t>
        <a:bodyPr/>
        <a:lstStyle/>
        <a:p>
          <a:pPr rtl="0"/>
          <a:r>
            <a:rPr lang="en-US" sz="120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First two versions were basically written in Excel using VLOOKUPs</a:t>
          </a:r>
          <a:endParaRPr lang="en-US" sz="12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7646262-AED1-4683-A058-7A9004CA91BC}" type="parTrans" cxnId="{89FDA60B-84CD-429A-AE3F-5A669D7EA025}">
      <dgm:prSet/>
      <dgm:spPr/>
      <dgm:t>
        <a:bodyPr/>
        <a:lstStyle/>
        <a:p>
          <a:endParaRPr lang="en-US" sz="12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5EB477E7-7392-4DC4-A0BF-C4F1CA3A10DE}" type="sibTrans" cxnId="{89FDA60B-84CD-429A-AE3F-5A669D7EA025}">
      <dgm:prSet/>
      <dgm:spPr/>
      <dgm:t>
        <a:bodyPr/>
        <a:lstStyle/>
        <a:p>
          <a:endParaRPr lang="en-US" sz="12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38DC8F8E-2FCC-4239-9920-A64B68CBEAE9}">
      <dgm:prSet custT="1"/>
      <dgm:spPr>
        <a:solidFill>
          <a:schemeClr val="accent4">
            <a:lumMod val="50000"/>
          </a:schemeClr>
        </a:solidFill>
      </dgm:spPr>
      <dgm:t>
        <a:bodyPr/>
        <a:lstStyle/>
        <a:p>
          <a:pPr rtl="0"/>
          <a:r>
            <a:rPr lang="en-US" sz="120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Now has over 24,000 customers in 100 countries and employs over 1,000 people worldwide</a:t>
          </a:r>
          <a:endParaRPr lang="en-US" sz="12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46F8CE6B-3B43-4944-B70F-02079A98AE64}" type="parTrans" cxnId="{E6C3F6B5-8F33-4876-81C5-B6CE0B37A9B6}">
      <dgm:prSet/>
      <dgm:spPr/>
      <dgm:t>
        <a:bodyPr/>
        <a:lstStyle/>
        <a:p>
          <a:endParaRPr lang="en-US" sz="12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1B8DF655-80EC-499D-B55D-44475EC5EBD7}" type="sibTrans" cxnId="{E6C3F6B5-8F33-4876-81C5-B6CE0B37A9B6}">
      <dgm:prSet/>
      <dgm:spPr/>
      <dgm:t>
        <a:bodyPr/>
        <a:lstStyle/>
        <a:p>
          <a:endParaRPr lang="en-US" sz="12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F743C98-BC35-4018-983D-E3763F4FC1D5}">
      <dgm:prSet custT="1"/>
      <dgm:spPr>
        <a:solidFill>
          <a:schemeClr val="accent4">
            <a:lumMod val="50000"/>
          </a:schemeClr>
        </a:solidFill>
      </dgm:spPr>
      <dgm:t>
        <a:bodyPr/>
        <a:lstStyle/>
        <a:p>
          <a:pPr rtl="0"/>
          <a:r>
            <a:rPr lang="en-US" sz="120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Market cap: $2.5 billion</a:t>
          </a:r>
          <a:endParaRPr lang="en-US" sz="12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4F28F0D3-9262-4FC4-9B66-7A4902619777}" type="parTrans" cxnId="{B2EBE81E-F2F9-43EE-A61E-EF5C216F7E47}">
      <dgm:prSet/>
      <dgm:spPr/>
      <dgm:t>
        <a:bodyPr/>
        <a:lstStyle/>
        <a:p>
          <a:endParaRPr lang="en-US" sz="12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4564B88-814E-474B-8369-1BF4B46090BB}" type="sibTrans" cxnId="{B2EBE81E-F2F9-43EE-A61E-EF5C216F7E47}">
      <dgm:prSet/>
      <dgm:spPr/>
      <dgm:t>
        <a:bodyPr/>
        <a:lstStyle/>
        <a:p>
          <a:endParaRPr lang="en-US" sz="12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3A36EB0F-3498-4594-ADF6-CE12D503FBAE}" type="pres">
      <dgm:prSet presAssocID="{A67AC82F-2B0C-406E-ABBA-8523F83CA99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36BD411-35D3-436D-A8DC-C7AFD4686135}" type="pres">
      <dgm:prSet presAssocID="{8393F488-468C-4D73-86D1-ECABEA6635FE}" presName="parentText" presStyleLbl="node1" presStyleIdx="0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5882F8A-7A9D-4C6F-9E40-5547A2EC3C9E}" type="pres">
      <dgm:prSet presAssocID="{4CBDA8C8-5767-46AD-A599-C824C0142460}" presName="spacer" presStyleCnt="0"/>
      <dgm:spPr/>
    </dgm:pt>
    <dgm:pt modelId="{1B0FA7F0-965D-4A4E-8E25-17A7A9A49C92}" type="pres">
      <dgm:prSet presAssocID="{86A337FD-9371-469E-B649-0505D1DAF866}" presName="parentText" presStyleLbl="node1" presStyleIdx="1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143BF6-B95D-45A2-8094-F68371AE1961}" type="pres">
      <dgm:prSet presAssocID="{7A588478-736E-4871-B0E4-96FAFCCEAE46}" presName="spacer" presStyleCnt="0"/>
      <dgm:spPr/>
    </dgm:pt>
    <dgm:pt modelId="{61D11B64-F457-4372-9022-048CFF5C31E0}" type="pres">
      <dgm:prSet presAssocID="{ABC1C456-6033-4EE3-8694-01F116D1F7E2}" presName="parentText" presStyleLbl="node1" presStyleIdx="2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617C018-7DEE-4D1F-B18C-5EC7F73505F7}" type="pres">
      <dgm:prSet presAssocID="{CFCEBAE1-90BC-430B-A476-EDCAC331345E}" presName="spacer" presStyleCnt="0"/>
      <dgm:spPr/>
    </dgm:pt>
    <dgm:pt modelId="{72AF15F0-20E9-4331-8DF8-754B89718A35}" type="pres">
      <dgm:prSet presAssocID="{72EF3B89-4603-446F-B954-77817427CBF1}" presName="parentText" presStyleLbl="node1" presStyleIdx="3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4967765-C8AC-473D-842E-90D58B4977D3}" type="pres">
      <dgm:prSet presAssocID="{5EB477E7-7392-4DC4-A0BF-C4F1CA3A10DE}" presName="spacer" presStyleCnt="0"/>
      <dgm:spPr/>
    </dgm:pt>
    <dgm:pt modelId="{ECCD9427-B9DF-4F1B-822D-2AFB0389F65A}" type="pres">
      <dgm:prSet presAssocID="{38DC8F8E-2FCC-4239-9920-A64B68CBEAE9}" presName="parentText" presStyleLbl="node1" presStyleIdx="4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473A71C-E739-4A4F-B25F-C1985BA47B5A}" type="pres">
      <dgm:prSet presAssocID="{1B8DF655-80EC-499D-B55D-44475EC5EBD7}" presName="spacer" presStyleCnt="0"/>
      <dgm:spPr/>
    </dgm:pt>
    <dgm:pt modelId="{870DB80B-7E0B-45D4-B1BE-394D3F772AD1}" type="pres">
      <dgm:prSet presAssocID="{BF743C98-BC35-4018-983D-E3763F4FC1D5}" presName="parentText" presStyleLbl="node1" presStyleIdx="5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542AB44-7FC3-418A-B67C-A39388FF3896}" type="presOf" srcId="{ABC1C456-6033-4EE3-8694-01F116D1F7E2}" destId="{61D11B64-F457-4372-9022-048CFF5C31E0}" srcOrd="0" destOrd="0" presId="urn:microsoft.com/office/officeart/2005/8/layout/vList2"/>
    <dgm:cxn modelId="{67512238-110D-46B8-9BF8-7556D788EC68}" srcId="{A67AC82F-2B0C-406E-ABBA-8523F83CA994}" destId="{ABC1C456-6033-4EE3-8694-01F116D1F7E2}" srcOrd="2" destOrd="0" parTransId="{6EBDFD2B-892C-4F0C-A31A-434211C76C1E}" sibTransId="{CFCEBAE1-90BC-430B-A476-EDCAC331345E}"/>
    <dgm:cxn modelId="{E6C3F6B5-8F33-4876-81C5-B6CE0B37A9B6}" srcId="{A67AC82F-2B0C-406E-ABBA-8523F83CA994}" destId="{38DC8F8E-2FCC-4239-9920-A64B68CBEAE9}" srcOrd="4" destOrd="0" parTransId="{46F8CE6B-3B43-4944-B70F-02079A98AE64}" sibTransId="{1B8DF655-80EC-499D-B55D-44475EC5EBD7}"/>
    <dgm:cxn modelId="{9FF7A0B9-E658-43C3-B397-C78AB6A6909F}" type="presOf" srcId="{BF743C98-BC35-4018-983D-E3763F4FC1D5}" destId="{870DB80B-7E0B-45D4-B1BE-394D3F772AD1}" srcOrd="0" destOrd="0" presId="urn:microsoft.com/office/officeart/2005/8/layout/vList2"/>
    <dgm:cxn modelId="{FAC40582-B2B2-43D3-B6F1-895A06A074D2}" srcId="{A67AC82F-2B0C-406E-ABBA-8523F83CA994}" destId="{86A337FD-9371-469E-B649-0505D1DAF866}" srcOrd="1" destOrd="0" parTransId="{CCBC5921-080E-4B58-9B6D-6D257D14C747}" sibTransId="{7A588478-736E-4871-B0E4-96FAFCCEAE46}"/>
    <dgm:cxn modelId="{500528D0-C13D-41F0-ADF4-FF7F255F3C40}" type="presOf" srcId="{A67AC82F-2B0C-406E-ABBA-8523F83CA994}" destId="{3A36EB0F-3498-4594-ADF6-CE12D503FBAE}" srcOrd="0" destOrd="0" presId="urn:microsoft.com/office/officeart/2005/8/layout/vList2"/>
    <dgm:cxn modelId="{89FDA60B-84CD-429A-AE3F-5A669D7EA025}" srcId="{A67AC82F-2B0C-406E-ABBA-8523F83CA994}" destId="{72EF3B89-4603-446F-B954-77817427CBF1}" srcOrd="3" destOrd="0" parTransId="{B7646262-AED1-4683-A058-7A9004CA91BC}" sibTransId="{5EB477E7-7392-4DC4-A0BF-C4F1CA3A10DE}"/>
    <dgm:cxn modelId="{5166FB25-9474-437D-B736-BFDDBDBC7A82}" type="presOf" srcId="{72EF3B89-4603-446F-B954-77817427CBF1}" destId="{72AF15F0-20E9-4331-8DF8-754B89718A35}" srcOrd="0" destOrd="0" presId="urn:microsoft.com/office/officeart/2005/8/layout/vList2"/>
    <dgm:cxn modelId="{7ED91FE5-8BF3-4E72-AA74-FDD01BB61985}" type="presOf" srcId="{86A337FD-9371-469E-B649-0505D1DAF866}" destId="{1B0FA7F0-965D-4A4E-8E25-17A7A9A49C92}" srcOrd="0" destOrd="0" presId="urn:microsoft.com/office/officeart/2005/8/layout/vList2"/>
    <dgm:cxn modelId="{B2EBE81E-F2F9-43EE-A61E-EF5C216F7E47}" srcId="{A67AC82F-2B0C-406E-ABBA-8523F83CA994}" destId="{BF743C98-BC35-4018-983D-E3763F4FC1D5}" srcOrd="5" destOrd="0" parTransId="{4F28F0D3-9262-4FC4-9B66-7A4902619777}" sibTransId="{74564B88-814E-474B-8369-1BF4B46090BB}"/>
    <dgm:cxn modelId="{03750011-6530-46BE-84EE-E0BDEDD6C82F}" type="presOf" srcId="{38DC8F8E-2FCC-4239-9920-A64B68CBEAE9}" destId="{ECCD9427-B9DF-4F1B-822D-2AFB0389F65A}" srcOrd="0" destOrd="0" presId="urn:microsoft.com/office/officeart/2005/8/layout/vList2"/>
    <dgm:cxn modelId="{3A567F69-B4E3-4A04-882A-C2AA4054A87F}" type="presOf" srcId="{8393F488-468C-4D73-86D1-ECABEA6635FE}" destId="{B36BD411-35D3-436D-A8DC-C7AFD4686135}" srcOrd="0" destOrd="0" presId="urn:microsoft.com/office/officeart/2005/8/layout/vList2"/>
    <dgm:cxn modelId="{F53F15F4-1921-439A-BD8D-661A7B18A3E4}" srcId="{A67AC82F-2B0C-406E-ABBA-8523F83CA994}" destId="{8393F488-468C-4D73-86D1-ECABEA6635FE}" srcOrd="0" destOrd="0" parTransId="{2F2B76BB-E76D-4204-8EDF-BD91CC7CBF79}" sibTransId="{4CBDA8C8-5767-46AD-A599-C824C0142460}"/>
    <dgm:cxn modelId="{1E340C79-3611-48D2-822F-37932FFB9F17}" type="presParOf" srcId="{3A36EB0F-3498-4594-ADF6-CE12D503FBAE}" destId="{B36BD411-35D3-436D-A8DC-C7AFD4686135}" srcOrd="0" destOrd="0" presId="urn:microsoft.com/office/officeart/2005/8/layout/vList2"/>
    <dgm:cxn modelId="{D3F83717-0C5E-4724-A1AD-011D5FD18E1F}" type="presParOf" srcId="{3A36EB0F-3498-4594-ADF6-CE12D503FBAE}" destId="{05882F8A-7A9D-4C6F-9E40-5547A2EC3C9E}" srcOrd="1" destOrd="0" presId="urn:microsoft.com/office/officeart/2005/8/layout/vList2"/>
    <dgm:cxn modelId="{F4A957D7-ABCA-4305-8CFC-AB2C9803FF03}" type="presParOf" srcId="{3A36EB0F-3498-4594-ADF6-CE12D503FBAE}" destId="{1B0FA7F0-965D-4A4E-8E25-17A7A9A49C92}" srcOrd="2" destOrd="0" presId="urn:microsoft.com/office/officeart/2005/8/layout/vList2"/>
    <dgm:cxn modelId="{6CC7B4E9-337C-40F9-81B8-B95FAF36CE02}" type="presParOf" srcId="{3A36EB0F-3498-4594-ADF6-CE12D503FBAE}" destId="{2D143BF6-B95D-45A2-8094-F68371AE1961}" srcOrd="3" destOrd="0" presId="urn:microsoft.com/office/officeart/2005/8/layout/vList2"/>
    <dgm:cxn modelId="{3429432E-BBFA-4F2D-80E7-68CC3FC01A3C}" type="presParOf" srcId="{3A36EB0F-3498-4594-ADF6-CE12D503FBAE}" destId="{61D11B64-F457-4372-9022-048CFF5C31E0}" srcOrd="4" destOrd="0" presId="urn:microsoft.com/office/officeart/2005/8/layout/vList2"/>
    <dgm:cxn modelId="{AE8E269F-F32F-4AF5-A96B-62211A4927E7}" type="presParOf" srcId="{3A36EB0F-3498-4594-ADF6-CE12D503FBAE}" destId="{F617C018-7DEE-4D1F-B18C-5EC7F73505F7}" srcOrd="5" destOrd="0" presId="urn:microsoft.com/office/officeart/2005/8/layout/vList2"/>
    <dgm:cxn modelId="{EDFAB079-F1E0-4C6F-B180-9C0B433F431D}" type="presParOf" srcId="{3A36EB0F-3498-4594-ADF6-CE12D503FBAE}" destId="{72AF15F0-20E9-4331-8DF8-754B89718A35}" srcOrd="6" destOrd="0" presId="urn:microsoft.com/office/officeart/2005/8/layout/vList2"/>
    <dgm:cxn modelId="{EA218424-C2FB-4B2C-9EA7-923C61FF1FFE}" type="presParOf" srcId="{3A36EB0F-3498-4594-ADF6-CE12D503FBAE}" destId="{F4967765-C8AC-473D-842E-90D58B4977D3}" srcOrd="7" destOrd="0" presId="urn:microsoft.com/office/officeart/2005/8/layout/vList2"/>
    <dgm:cxn modelId="{1FF2335B-0FA3-4731-9C4E-ABF175C7F932}" type="presParOf" srcId="{3A36EB0F-3498-4594-ADF6-CE12D503FBAE}" destId="{ECCD9427-B9DF-4F1B-822D-2AFB0389F65A}" srcOrd="8" destOrd="0" presId="urn:microsoft.com/office/officeart/2005/8/layout/vList2"/>
    <dgm:cxn modelId="{8A9CE3E9-C7CD-4E73-9AF7-6A9252BE2432}" type="presParOf" srcId="{3A36EB0F-3498-4594-ADF6-CE12D503FBAE}" destId="{9473A71C-E739-4A4F-B25F-C1985BA47B5A}" srcOrd="9" destOrd="0" presId="urn:microsoft.com/office/officeart/2005/8/layout/vList2"/>
    <dgm:cxn modelId="{F9A4FE28-34B0-40A6-B7B7-B40C0DC842E6}" type="presParOf" srcId="{3A36EB0F-3498-4594-ADF6-CE12D503FBAE}" destId="{870DB80B-7E0B-45D4-B1BE-394D3F772AD1}" srcOrd="1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2ABABDD-7307-4CFD-92E7-6E56EAD71685}" type="doc">
      <dgm:prSet loTypeId="urn:microsoft.com/office/officeart/2005/8/layout/hProcess3" loCatId="process" qsTypeId="urn:microsoft.com/office/officeart/2005/8/quickstyle/simple4" qsCatId="simple" csTypeId="urn:microsoft.com/office/officeart/2005/8/colors/colorful1" csCatId="colorful" phldr="0"/>
      <dgm:spPr/>
    </dgm:pt>
    <dgm:pt modelId="{A966E0DE-FA93-4AF6-A822-48D5FE7A11F8}" type="pres">
      <dgm:prSet presAssocID="{42ABABDD-7307-4CFD-92E7-6E56EAD71685}" presName="Name0" presStyleCnt="0">
        <dgm:presLayoutVars>
          <dgm:dir/>
          <dgm:animLvl val="lvl"/>
          <dgm:resizeHandles val="exact"/>
        </dgm:presLayoutVars>
      </dgm:prSet>
      <dgm:spPr/>
    </dgm:pt>
    <dgm:pt modelId="{BB7A09F0-E921-4C7D-95BE-04551EE09176}" type="pres">
      <dgm:prSet presAssocID="{42ABABDD-7307-4CFD-92E7-6E56EAD71685}" presName="dummy" presStyleCnt="0"/>
      <dgm:spPr/>
    </dgm:pt>
    <dgm:pt modelId="{EE4055A4-2C4F-4CA0-8297-F2D4C6E10380}" type="pres">
      <dgm:prSet presAssocID="{42ABABDD-7307-4CFD-92E7-6E56EAD71685}" presName="linH" presStyleCnt="0"/>
      <dgm:spPr/>
    </dgm:pt>
    <dgm:pt modelId="{CA89DC58-B54A-4CD9-A3D4-5A88699CFF52}" type="pres">
      <dgm:prSet presAssocID="{42ABABDD-7307-4CFD-92E7-6E56EAD71685}" presName="padding1" presStyleCnt="0"/>
      <dgm:spPr/>
    </dgm:pt>
    <dgm:pt modelId="{4EA633DA-8810-4326-B7C3-11AE57EB843E}" type="pres">
      <dgm:prSet presAssocID="{42ABABDD-7307-4CFD-92E7-6E56EAD71685}" presName="padding2" presStyleCnt="0"/>
      <dgm:spPr/>
    </dgm:pt>
    <dgm:pt modelId="{EE5C97E0-434E-4E77-998B-E5FE917AFEC1}" type="pres">
      <dgm:prSet presAssocID="{42ABABDD-7307-4CFD-92E7-6E56EAD71685}" presName="negArrow" presStyleCnt="0"/>
      <dgm:spPr/>
    </dgm:pt>
    <dgm:pt modelId="{18EDCEF9-02A4-4266-A302-7C0EE9F52FAF}" type="pres">
      <dgm:prSet presAssocID="{42ABABDD-7307-4CFD-92E7-6E56EAD71685}" presName="backgroundArrow" presStyleLbl="node1" presStyleIdx="0" presStyleCnt="1" custLinFactNeighborY="3477"/>
      <dgm:spPr/>
    </dgm:pt>
  </dgm:ptLst>
  <dgm:cxnLst>
    <dgm:cxn modelId="{08739AC4-5C02-41A9-BE88-0A7D9088AACF}" type="presOf" srcId="{42ABABDD-7307-4CFD-92E7-6E56EAD71685}" destId="{A966E0DE-FA93-4AF6-A822-48D5FE7A11F8}" srcOrd="0" destOrd="0" presId="urn:microsoft.com/office/officeart/2005/8/layout/hProcess3"/>
    <dgm:cxn modelId="{BAC8316B-620E-42E1-8EED-2DD2AF46AB77}" type="presParOf" srcId="{A966E0DE-FA93-4AF6-A822-48D5FE7A11F8}" destId="{BB7A09F0-E921-4C7D-95BE-04551EE09176}" srcOrd="0" destOrd="0" presId="urn:microsoft.com/office/officeart/2005/8/layout/hProcess3"/>
    <dgm:cxn modelId="{48A022BF-2080-4C1C-87A6-AACBA22D69F1}" type="presParOf" srcId="{A966E0DE-FA93-4AF6-A822-48D5FE7A11F8}" destId="{EE4055A4-2C4F-4CA0-8297-F2D4C6E10380}" srcOrd="1" destOrd="0" presId="urn:microsoft.com/office/officeart/2005/8/layout/hProcess3"/>
    <dgm:cxn modelId="{B0893D7F-63F7-41A4-ABCF-EBB7F9B486E9}" type="presParOf" srcId="{EE4055A4-2C4F-4CA0-8297-F2D4C6E10380}" destId="{CA89DC58-B54A-4CD9-A3D4-5A88699CFF52}" srcOrd="0" destOrd="0" presId="urn:microsoft.com/office/officeart/2005/8/layout/hProcess3"/>
    <dgm:cxn modelId="{6E4CCC42-43AF-479C-8BB7-57EAB32CCB0E}" type="presParOf" srcId="{EE4055A4-2C4F-4CA0-8297-F2D4C6E10380}" destId="{4EA633DA-8810-4326-B7C3-11AE57EB843E}" srcOrd="1" destOrd="0" presId="urn:microsoft.com/office/officeart/2005/8/layout/hProcess3"/>
    <dgm:cxn modelId="{FD1BBC93-4607-40EE-AA2F-F4C366CF6067}" type="presParOf" srcId="{EE4055A4-2C4F-4CA0-8297-F2D4C6E10380}" destId="{EE5C97E0-434E-4E77-998B-E5FE917AFEC1}" srcOrd="2" destOrd="0" presId="urn:microsoft.com/office/officeart/2005/8/layout/hProcess3"/>
    <dgm:cxn modelId="{D25DE057-3E02-4240-B490-715A6BAEAA5B}" type="presParOf" srcId="{EE4055A4-2C4F-4CA0-8297-F2D4C6E10380}" destId="{18EDCEF9-02A4-4266-A302-7C0EE9F52FAF}" srcOrd="3" destOrd="0" presId="urn:microsoft.com/office/officeart/2005/8/layout/hProcess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F767D8E-0154-4BC8-8466-1A94C07F98EB}" type="doc">
      <dgm:prSet loTypeId="urn:microsoft.com/office/officeart/2005/8/layout/chevron1" loCatId="process" qsTypeId="urn:microsoft.com/office/officeart/2005/8/quickstyle/simple1" qsCatId="simple" csTypeId="urn:microsoft.com/office/officeart/2005/8/colors/accent2_2" csCatId="accent2" phldr="1"/>
      <dgm:spPr/>
    </dgm:pt>
    <dgm:pt modelId="{949A707D-D6A0-4685-961C-6C2DC979BF05}">
      <dgm:prSet phldrT="[Text]"/>
      <dgm:spPr/>
      <dgm:t>
        <a:bodyPr/>
        <a:lstStyle/>
        <a:p>
          <a:r>
            <a:rPr lang="en-US" dirty="0" smtClean="0"/>
            <a:t>Integration</a:t>
          </a:r>
          <a:endParaRPr lang="en-US" dirty="0"/>
        </a:p>
      </dgm:t>
    </dgm:pt>
    <dgm:pt modelId="{2BC6D105-5354-4A23-B64C-6524D90090C7}" type="parTrans" cxnId="{5B6216E4-81EF-4E41-960D-A91DA16FC83B}">
      <dgm:prSet/>
      <dgm:spPr/>
      <dgm:t>
        <a:bodyPr/>
        <a:lstStyle/>
        <a:p>
          <a:endParaRPr lang="en-US"/>
        </a:p>
      </dgm:t>
    </dgm:pt>
    <dgm:pt modelId="{7BCFF177-E673-475F-8DEE-00067368436D}" type="sibTrans" cxnId="{5B6216E4-81EF-4E41-960D-A91DA16FC83B}">
      <dgm:prSet/>
      <dgm:spPr/>
      <dgm:t>
        <a:bodyPr/>
        <a:lstStyle/>
        <a:p>
          <a:endParaRPr lang="en-US"/>
        </a:p>
      </dgm:t>
    </dgm:pt>
    <dgm:pt modelId="{A00A255F-FBCF-47C4-96C3-8F0E97C5F4A9}">
      <dgm:prSet phldrT="[Text]"/>
      <dgm:spPr/>
      <dgm:t>
        <a:bodyPr/>
        <a:lstStyle/>
        <a:p>
          <a:r>
            <a:rPr lang="en-US" dirty="0" smtClean="0"/>
            <a:t>Modeling</a:t>
          </a:r>
          <a:endParaRPr lang="en-US" dirty="0"/>
        </a:p>
      </dgm:t>
    </dgm:pt>
    <dgm:pt modelId="{AACC4467-DE87-4D6F-B46F-9C577643C1CE}" type="parTrans" cxnId="{7DC09887-A9BD-4587-9159-BFC9E9DE9876}">
      <dgm:prSet/>
      <dgm:spPr/>
      <dgm:t>
        <a:bodyPr/>
        <a:lstStyle/>
        <a:p>
          <a:endParaRPr lang="en-US"/>
        </a:p>
      </dgm:t>
    </dgm:pt>
    <dgm:pt modelId="{79BD7472-1E9B-43CD-BE0F-1B62D89A1430}" type="sibTrans" cxnId="{7DC09887-A9BD-4587-9159-BFC9E9DE9876}">
      <dgm:prSet/>
      <dgm:spPr/>
      <dgm:t>
        <a:bodyPr/>
        <a:lstStyle/>
        <a:p>
          <a:endParaRPr lang="en-US"/>
        </a:p>
      </dgm:t>
    </dgm:pt>
    <dgm:pt modelId="{839251A5-884E-44E2-8BB0-D990D0ABF9A5}">
      <dgm:prSet phldrT="[Text]"/>
      <dgm:spPr/>
      <dgm:t>
        <a:bodyPr/>
        <a:lstStyle/>
        <a:p>
          <a:r>
            <a:rPr lang="en-US" dirty="0" smtClean="0"/>
            <a:t>Presentation</a:t>
          </a:r>
          <a:endParaRPr lang="en-US" dirty="0"/>
        </a:p>
      </dgm:t>
    </dgm:pt>
    <dgm:pt modelId="{6ED7A5F8-20B8-4193-B5D9-AC2B0AEB1293}" type="parTrans" cxnId="{E7963D97-7698-45D0-990F-A02292FBD3F0}">
      <dgm:prSet/>
      <dgm:spPr/>
      <dgm:t>
        <a:bodyPr/>
        <a:lstStyle/>
        <a:p>
          <a:endParaRPr lang="en-US"/>
        </a:p>
      </dgm:t>
    </dgm:pt>
    <dgm:pt modelId="{61F8B91D-E240-41AA-AD1D-30DFA442A50A}" type="sibTrans" cxnId="{E7963D97-7698-45D0-990F-A02292FBD3F0}">
      <dgm:prSet/>
      <dgm:spPr/>
      <dgm:t>
        <a:bodyPr/>
        <a:lstStyle/>
        <a:p>
          <a:endParaRPr lang="en-US"/>
        </a:p>
      </dgm:t>
    </dgm:pt>
    <dgm:pt modelId="{A0BC60D6-6493-4D64-8FD8-896CC57B49E2}" type="pres">
      <dgm:prSet presAssocID="{FF767D8E-0154-4BC8-8466-1A94C07F98EB}" presName="Name0" presStyleCnt="0">
        <dgm:presLayoutVars>
          <dgm:dir/>
          <dgm:animLvl val="lvl"/>
          <dgm:resizeHandles val="exact"/>
        </dgm:presLayoutVars>
      </dgm:prSet>
      <dgm:spPr/>
    </dgm:pt>
    <dgm:pt modelId="{3C0F8F2F-F139-487A-B37B-C6D7C78C7935}" type="pres">
      <dgm:prSet presAssocID="{949A707D-D6A0-4685-961C-6C2DC979BF05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7FC4E93-DF93-4885-AB0A-7FB64CA34E67}" type="pres">
      <dgm:prSet presAssocID="{7BCFF177-E673-475F-8DEE-00067368436D}" presName="parTxOnlySpace" presStyleCnt="0"/>
      <dgm:spPr/>
    </dgm:pt>
    <dgm:pt modelId="{52D0E50D-04CA-4D22-BBBA-CBB848AE80B0}" type="pres">
      <dgm:prSet presAssocID="{A00A255F-FBCF-47C4-96C3-8F0E97C5F4A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C7B1926-DF8F-4041-81A2-437AE775C10B}" type="pres">
      <dgm:prSet presAssocID="{79BD7472-1E9B-43CD-BE0F-1B62D89A1430}" presName="parTxOnlySpace" presStyleCnt="0"/>
      <dgm:spPr/>
    </dgm:pt>
    <dgm:pt modelId="{3E6F8D5E-C56E-4835-8A25-DC58566BEBFA}" type="pres">
      <dgm:prSet presAssocID="{839251A5-884E-44E2-8BB0-D990D0ABF9A5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D3A6AB5-F7FA-45E3-93C8-8EA485F8C13D}" type="presOf" srcId="{949A707D-D6A0-4685-961C-6C2DC979BF05}" destId="{3C0F8F2F-F139-487A-B37B-C6D7C78C7935}" srcOrd="0" destOrd="0" presId="urn:microsoft.com/office/officeart/2005/8/layout/chevron1"/>
    <dgm:cxn modelId="{6D73348C-B46D-483E-A862-F8B4AB6875E7}" type="presOf" srcId="{FF767D8E-0154-4BC8-8466-1A94C07F98EB}" destId="{A0BC60D6-6493-4D64-8FD8-896CC57B49E2}" srcOrd="0" destOrd="0" presId="urn:microsoft.com/office/officeart/2005/8/layout/chevron1"/>
    <dgm:cxn modelId="{7DC09887-A9BD-4587-9159-BFC9E9DE9876}" srcId="{FF767D8E-0154-4BC8-8466-1A94C07F98EB}" destId="{A00A255F-FBCF-47C4-96C3-8F0E97C5F4A9}" srcOrd="1" destOrd="0" parTransId="{AACC4467-DE87-4D6F-B46F-9C577643C1CE}" sibTransId="{79BD7472-1E9B-43CD-BE0F-1B62D89A1430}"/>
    <dgm:cxn modelId="{5B6216E4-81EF-4E41-960D-A91DA16FC83B}" srcId="{FF767D8E-0154-4BC8-8466-1A94C07F98EB}" destId="{949A707D-D6A0-4685-961C-6C2DC979BF05}" srcOrd="0" destOrd="0" parTransId="{2BC6D105-5354-4A23-B64C-6524D90090C7}" sibTransId="{7BCFF177-E673-475F-8DEE-00067368436D}"/>
    <dgm:cxn modelId="{E7963D97-7698-45D0-990F-A02292FBD3F0}" srcId="{FF767D8E-0154-4BC8-8466-1A94C07F98EB}" destId="{839251A5-884E-44E2-8BB0-D990D0ABF9A5}" srcOrd="2" destOrd="0" parTransId="{6ED7A5F8-20B8-4193-B5D9-AC2B0AEB1293}" sibTransId="{61F8B91D-E240-41AA-AD1D-30DFA442A50A}"/>
    <dgm:cxn modelId="{D554B28E-8607-4AC8-B2A3-92BC51AE10F2}" type="presOf" srcId="{A00A255F-FBCF-47C4-96C3-8F0E97C5F4A9}" destId="{52D0E50D-04CA-4D22-BBBA-CBB848AE80B0}" srcOrd="0" destOrd="0" presId="urn:microsoft.com/office/officeart/2005/8/layout/chevron1"/>
    <dgm:cxn modelId="{0EF2BEF2-2670-4AC2-B143-380795C22C76}" type="presOf" srcId="{839251A5-884E-44E2-8BB0-D990D0ABF9A5}" destId="{3E6F8D5E-C56E-4835-8A25-DC58566BEBFA}" srcOrd="0" destOrd="0" presId="urn:microsoft.com/office/officeart/2005/8/layout/chevron1"/>
    <dgm:cxn modelId="{D886A364-5EF3-447D-8EA8-1D757263A227}" type="presParOf" srcId="{A0BC60D6-6493-4D64-8FD8-896CC57B49E2}" destId="{3C0F8F2F-F139-487A-B37B-C6D7C78C7935}" srcOrd="0" destOrd="0" presId="urn:microsoft.com/office/officeart/2005/8/layout/chevron1"/>
    <dgm:cxn modelId="{80130184-1AD3-4E44-91C6-EFBAF69B7682}" type="presParOf" srcId="{A0BC60D6-6493-4D64-8FD8-896CC57B49E2}" destId="{D7FC4E93-DF93-4885-AB0A-7FB64CA34E67}" srcOrd="1" destOrd="0" presId="urn:microsoft.com/office/officeart/2005/8/layout/chevron1"/>
    <dgm:cxn modelId="{64A3D43F-9578-4724-8D22-263E95FBB653}" type="presParOf" srcId="{A0BC60D6-6493-4D64-8FD8-896CC57B49E2}" destId="{52D0E50D-04CA-4D22-BBBA-CBB848AE80B0}" srcOrd="2" destOrd="0" presId="urn:microsoft.com/office/officeart/2005/8/layout/chevron1"/>
    <dgm:cxn modelId="{0B6A68C8-5BC4-4527-B664-4F2EFD1E267E}" type="presParOf" srcId="{A0BC60D6-6493-4D64-8FD8-896CC57B49E2}" destId="{9C7B1926-DF8F-4041-81A2-437AE775C10B}" srcOrd="3" destOrd="0" presId="urn:microsoft.com/office/officeart/2005/8/layout/chevron1"/>
    <dgm:cxn modelId="{D1CAE180-8B8E-426F-969C-7528420D3A77}" type="presParOf" srcId="{A0BC60D6-6493-4D64-8FD8-896CC57B49E2}" destId="{3E6F8D5E-C56E-4835-8A25-DC58566BEBFA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3">
  <dgm:title val=""/>
  <dgm:desc val=""/>
  <dgm:catLst>
    <dgm:cat type="process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 chOrder="t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dummy" refType="w"/>
      <dgm:constr type="h" for="ch" forName="dummy" refType="h"/>
      <dgm:constr type="h" for="ch" forName="dummy" refType="w" refFor="ch" refForName="dummy" op="lte" fact="0.4"/>
      <dgm:constr type="ctrX" for="ch" forName="dummy" refType="w" fact="0.5"/>
      <dgm:constr type="ctrY" for="ch" forName="dummy" refType="h" fact="0.5"/>
      <dgm:constr type="w" for="ch" forName="linH" refType="w"/>
      <dgm:constr type="h" for="ch" forName="linH" refType="h"/>
      <dgm:constr type="ctrX" for="ch" forName="linH" refType="w" fact="0.5"/>
      <dgm:constr type="ctrY" for="ch" forName="linH" refType="h" fact="0.5"/>
      <dgm:constr type="userP" for="ch" forName="linH" refType="h" refFor="ch" refForName="dummy" fact="0.25"/>
      <dgm:constr type="userT" for="des" forName="parTx" refType="w" refFor="ch" refForName="dummy" fact="0.2"/>
    </dgm:constrLst>
    <dgm:ruleLst/>
    <dgm:layoutNode name="dummy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linH">
      <dgm:choose name="Name1">
        <dgm:if name="Name2" func="var" arg="dir" op="equ" val="norm">
          <dgm:alg type="lin">
            <dgm:param type="linDir" val="fromL"/>
            <dgm:param type="nodeVertAlign" val="t"/>
          </dgm:alg>
        </dgm:if>
        <dgm:else name="Name3">
          <dgm:alg type="lin">
            <dgm:param type="linDir" val="fromR"/>
            <dgm:param type="nodeVertAlign" val="t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forName="parTx" val="65"/>
        <dgm:constr type="primFontSz" for="des" forName="desTx" refType="primFontSz" refFor="des" refForName="parTx" op="equ"/>
        <dgm:constr type="h" for="des" forName="parTx" refType="primFontSz" refFor="des" refForName="parTx"/>
        <dgm:constr type="h" for="des" forName="desTx" refType="primFontSz" refFor="des" refForName="parTx" fact="0.5"/>
        <dgm:constr type="h" for="des" forName="parTx" op="equ"/>
        <dgm:constr type="h" for="des" forName="desTx" op="equ"/>
        <dgm:constr type="h" for="ch" forName="backgroundArrow" refType="primFontSz" refFor="des" refForName="parTx" fact="2"/>
        <dgm:constr type="h" for="ch" forName="backgroundArrow" refType="h" refFor="des" refForName="parTx" op="lte" fact="2"/>
        <dgm:constr type="h" for="ch" forName="backgroundArrow" refType="h" refFor="des" refForName="parTx" op="gte" fact="2"/>
        <dgm:constr type="h" for="des" forName="spVertical1" refType="primFontSz" refFor="des" refForName="parTx" fact="0.5"/>
        <dgm:constr type="h" for="des" forName="spVertical1" refType="h" refFor="des" refForName="parTx" op="lte" fact="0.5"/>
        <dgm:constr type="h" for="des" forName="spVertical1" refType="h" refFor="des" refForName="parTx" op="gte" fact="0.5"/>
        <dgm:constr type="h" for="des" forName="spVertical2" refType="primFontSz" refFor="des" refForName="parTx" fact="0.5"/>
        <dgm:constr type="h" for="des" forName="spVertical2" refType="h" refFor="des" refForName="parTx" op="lte" fact="0.5"/>
        <dgm:constr type="h" for="des" forName="spVertical2" refType="h" refFor="des" refForName="parTx" op="gte" fact="0.5"/>
        <dgm:constr type="h" for="des" forName="spVertical3" refType="primFontSz" refFor="des" refForName="parTx" fact="-0.4"/>
        <dgm:constr type="h" for="des" forName="spVertical3" refType="h" refFor="des" refForName="parTx" op="lte" fact="-0.4"/>
        <dgm:constr type="h" for="des" forName="spVertical3" refType="h" refFor="des" refForName="parTx" op="gte" fact="-0.4"/>
        <dgm:constr type="w" for="ch" forName="backgroundArrow" refType="w"/>
        <dgm:constr type="w" for="ch" forName="negArrow" refType="w" fact="-1"/>
        <dgm:constr type="w" for="ch" forName="linV" refType="w"/>
        <dgm:constr type="w" for="ch" forName="space" refType="w" refFor="ch" refForName="linV" fact="0.2"/>
        <dgm:constr type="w" for="ch" forName="padding1" refType="w" fact="0.08"/>
        <dgm:constr type="userP"/>
        <dgm:constr type="w" for="ch" forName="padding2" refType="userP"/>
      </dgm:constrLst>
      <dgm:ruleLst>
        <dgm:rule type="w" for="ch" forName="linV" val="0" fact="NaN" max="NaN"/>
        <dgm:rule type="primFontSz" for="des" forName="parTx" val="5" fact="NaN" max="NaN"/>
      </dgm:ruleLst>
      <dgm:layoutNode name="padding1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forEach name="Name4" axis="ch" ptType="node">
        <dgm:layoutNode name="linV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spVertical1" refType="w"/>
            <dgm:constr type="w" for="ch" forName="parTx" refType="w"/>
            <dgm:constr type="w" for="ch" forName="spVertical2" refType="w"/>
            <dgm:constr type="w" for="ch" forName="spVertical3" refType="w"/>
            <dgm:constr type="w" for="ch" forName="desTx" refType="w"/>
          </dgm:constrLst>
          <dgm:ruleLst/>
          <dgm:layoutNode name="spVertical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parTx" styleLbl="revTx">
            <dgm:varLst>
              <dgm:chMax val="0"/>
              <dgm:chPref val="0"/>
              <dgm:bulletEnabled val="1"/>
            </dgm:varLst>
            <dgm:choose name="Name5">
              <dgm:if name="Name6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">
                <dgm:alg type="tx">
                  <dgm:param type="parTxLTRAlign" val="ctr"/>
                  <dgm:param type="parTxRTLAlign" val="ct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hoose name="Name8">
              <dgm:if name="Name9" func="var" arg="dir" op="equ" val="norm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if>
              <dgm:else name="Name10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else>
            </dgm:choose>
            <dgm:ruleLst>
              <dgm:rule type="h" val="INF" fact="NaN" max="NaN"/>
            </dgm:ruleLst>
          </dgm:layoutNode>
          <dgm:layoutNode name="spVertical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pVertical3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choose name="Name11">
            <dgm:if name="Name12" axis="ch" ptType="node" func="cnt" op="gte" val="1">
              <dgm:layoutNode name="desTx" styleLbl="revTx">
                <dgm:varLst>
                  <dgm:bulletEnabled val="1"/>
                </dgm:varLst>
                <dgm:alg type="tx">
                  <dgm:param type="stBulletLvl" val="1"/>
                </dgm:alg>
                <dgm:shape xmlns:r="http://schemas.openxmlformats.org/officeDocument/2006/relationships" type="rect" r:blip="">
                  <dgm:adjLst/>
                </dgm:shape>
                <dgm:presOf axis="des" ptType="node"/>
                <dgm:constrLst>
                  <dgm:constr type="tMarg"/>
                  <dgm:constr type="bMarg"/>
                  <dgm:constr type="rMarg"/>
                  <dgm:constr type="lMarg"/>
                </dgm:constrLst>
                <dgm:ruleLst>
                  <dgm:rule type="h" val="INF" fact="NaN" max="NaN"/>
                </dgm:ruleLst>
              </dgm:layoutNode>
            </dgm:if>
            <dgm:else name="Name13"/>
          </dgm:choose>
        </dgm:layoutNod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  <dgm:layoutNode name="padding2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negArrow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backgroundArrow" styleLbl="node1">
        <dgm:alg type="sp"/>
        <dgm:choose name="Name15">
          <dgm:if name="Name16" func="var" arg="dir" op="equ" val="norm">
            <dgm:shape xmlns:r="http://schemas.openxmlformats.org/officeDocument/2006/relationships" type="rightArrow" r:blip="">
              <dgm:adjLst/>
            </dgm:shape>
          </dgm:if>
          <dgm:else name="Name17">
            <dgm:shape xmlns:r="http://schemas.openxmlformats.org/officeDocument/2006/relationships" type="leftArrow" r:blip="">
              <dgm:adjLst/>
            </dgm:shape>
          </dgm:else>
        </dgm:choose>
        <dgm:presOf/>
        <dgm:constrLst/>
        <dgm:ruleLst/>
      </dgm:layoutNode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B9D668-99ED-49CF-831F-A840C6D76BAE}" type="datetimeFigureOut">
              <a:rPr lang="en-US" smtClean="0"/>
              <a:t>10/26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292529-66D3-43A7-9086-539AA4A359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7629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D4A736-C162-4D71-AF44-405F76366576}" type="datetimeFigureOut">
              <a:rPr lang="en-US" smtClean="0"/>
              <a:t>10/26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297AD8-F30C-4F9C-820E-149D077B2C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025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297AD8-F30C-4F9C-820E-149D077B2CA4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8778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Shape 359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4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/>
          </a:p>
        </p:txBody>
      </p:sp>
      <p:sp>
        <p:nvSpPr>
          <p:cNvPr id="360" name="Shape 360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  <p:extLst>
      <p:ext uri="{BB962C8B-B14F-4D97-AF65-F5344CB8AC3E}">
        <p14:creationId xmlns:p14="http://schemas.microsoft.com/office/powerpoint/2010/main" val="38299638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9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20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21.png"/><Relationship Id="rId4" Type="http://schemas.openxmlformats.org/officeDocument/2006/relationships/image" Target="../media/image6.jpeg"/><Relationship Id="rId9" Type="http://schemas.openxmlformats.org/officeDocument/2006/relationships/image" Target="../media/image3.jpeg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jpeg"/><Relationship Id="rId9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rse Title 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2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952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48" t="12250" r="7770" b="10751"/>
          <a:stretch/>
        </p:blipFill>
        <p:spPr>
          <a:xfrm>
            <a:off x="2133353" y="1131590"/>
            <a:ext cx="4752528" cy="3668619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3282613" y="761226"/>
            <a:ext cx="2165978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766"/>
            <a:r>
              <a:rPr lang="en-IN" sz="2500" b="1" dirty="0">
                <a:solidFill>
                  <a:srgbClr val="002060"/>
                </a:solidFill>
                <a:latin typeface="Castellar" pitchFamily="18" charset="0"/>
              </a:rPr>
              <a:t>Questions</a:t>
            </a:r>
          </a:p>
        </p:txBody>
      </p:sp>
      <p:pic>
        <p:nvPicPr>
          <p:cNvPr id="7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51964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33400" y="819150"/>
            <a:ext cx="83058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Your feedback is important to us, be it a compliment, a suggestion or a complaint. It helps us to make the course better!</a:t>
            </a:r>
            <a:b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lease spare few minutes to take the survey after the webinar.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2957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E:\Pradeepa N_2014\Gra_Stocke\Annie\Annie_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3518" y="1063042"/>
            <a:ext cx="1779354" cy="3811051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 userDrawn="1"/>
        </p:nvSpPr>
        <p:spPr>
          <a:xfrm>
            <a:off x="3997116" y="843185"/>
            <a:ext cx="2091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ello There!!</a:t>
            </a:r>
          </a:p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y name is Annie. </a:t>
            </a:r>
            <a:b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 love quizzes and</a:t>
            </a:r>
          </a:p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uzzles and I am here to make you guys think and answer my questions.</a:t>
            </a:r>
          </a:p>
        </p:txBody>
      </p:sp>
      <p:sp>
        <p:nvSpPr>
          <p:cNvPr id="8" name="Oval Callout 7"/>
          <p:cNvSpPr/>
          <p:nvPr userDrawn="1"/>
        </p:nvSpPr>
        <p:spPr>
          <a:xfrm>
            <a:off x="3892021" y="765256"/>
            <a:ext cx="2301413" cy="1520575"/>
          </a:xfrm>
          <a:prstGeom prst="wedgeEllipseCallout">
            <a:avLst>
              <a:gd name="adj1" fmla="val -66422"/>
              <a:gd name="adj2" fmla="val 52921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1161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E:\Pradeepa N_2014\Gra_Stocke\Annie\Annie_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3518" y="1063042"/>
            <a:ext cx="1779354" cy="38110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534435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9144001" cy="5147673"/>
          </a:xfrm>
          <a:prstGeom prst="rect">
            <a:avLst/>
          </a:prstGeom>
        </p:spPr>
      </p:pic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846684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270" y="838723"/>
            <a:ext cx="3703320" cy="55221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270" y="1390935"/>
            <a:ext cx="3703320" cy="2533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11750" y="838723"/>
            <a:ext cx="3703320" cy="55221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311750" y="1390935"/>
            <a:ext cx="3703320" cy="2533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7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67630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72001" y="1355759"/>
            <a:ext cx="3929586" cy="238222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67139" y="832639"/>
            <a:ext cx="3943350" cy="37639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52306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rse Title 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893" y="310754"/>
            <a:ext cx="3193708" cy="3193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728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w it wor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>
            <p:extLst/>
          </p:nvPr>
        </p:nvGraphicFramePr>
        <p:xfrm>
          <a:off x="456714" y="574982"/>
          <a:ext cx="6059016" cy="4457700"/>
        </p:xfrm>
        <a:graphic>
          <a:graphicData uri="http://schemas.openxmlformats.org/drawingml/2006/table">
            <a:tbl>
              <a:tblPr firstRow="1" bandRow="1"/>
              <a:tblGrid>
                <a:gridCol w="1066800"/>
                <a:gridCol w="4992216"/>
              </a:tblGrid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LIVE Online Clas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Class Recording in LM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24/7 Post Class Suppor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Module Wise Quiz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Project Work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Verifiable Certificat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533400" y="742950"/>
            <a:ext cx="965632" cy="4114800"/>
            <a:chOff x="533400" y="895350"/>
            <a:chExt cx="965632" cy="41148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533400" y="1610550"/>
              <a:ext cx="853215" cy="504000"/>
            </a:xfrm>
            <a:prstGeom prst="rect">
              <a:avLst/>
            </a:prstGeom>
          </p:spPr>
        </p:pic>
        <p:grpSp>
          <p:nvGrpSpPr>
            <p:cNvPr id="8" name="Group 7"/>
            <p:cNvGrpSpPr/>
            <p:nvPr/>
          </p:nvGrpSpPr>
          <p:grpSpPr>
            <a:xfrm>
              <a:off x="762000" y="2296350"/>
              <a:ext cx="720000" cy="504000"/>
              <a:chOff x="5659045" y="1210738"/>
              <a:chExt cx="2153043" cy="1368288"/>
            </a:xfrm>
          </p:grpSpPr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rgbClr val="4F81BD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641654" y="1408592"/>
                <a:ext cx="1170434" cy="1170434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4F81BD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659045" y="1210738"/>
                <a:ext cx="1135108" cy="1196016"/>
              </a:xfrm>
              <a:prstGeom prst="rect">
                <a:avLst/>
              </a:prstGeom>
            </p:spPr>
          </p:pic>
        </p:grpSp>
        <p:pic>
          <p:nvPicPr>
            <p:cNvPr id="9" name="Picture 2" descr="http://www.thewellatlentrise.org/img/quiz.png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200" y="3028950"/>
              <a:ext cx="504000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62000" y="3790950"/>
              <a:ext cx="612000" cy="560523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62000" y="4398150"/>
              <a:ext cx="737032" cy="612000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838200" y="895350"/>
              <a:ext cx="504000" cy="509278"/>
            </a:xfrm>
            <a:prstGeom prst="rect">
              <a:avLst/>
            </a:prstGeom>
          </p:spPr>
        </p:pic>
      </p:grpSp>
      <p:pic>
        <p:nvPicPr>
          <p:cNvPr id="15" name="Picture 7" descr="edureka logol.jp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495566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29100" y="1128714"/>
            <a:ext cx="4457700" cy="3638550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204689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w it wor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96403058"/>
              </p:ext>
            </p:extLst>
          </p:nvPr>
        </p:nvGraphicFramePr>
        <p:xfrm>
          <a:off x="456714" y="574982"/>
          <a:ext cx="6059016" cy="4457700"/>
        </p:xfrm>
        <a:graphic>
          <a:graphicData uri="http://schemas.openxmlformats.org/drawingml/2006/table">
            <a:tbl>
              <a:tblPr firstRow="1" bandRow="1"/>
              <a:tblGrid>
                <a:gridCol w="1066800"/>
                <a:gridCol w="4992216"/>
              </a:tblGrid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LIVE Online Clas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Class Recording in LM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24/7 Post Class Suppor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Module Wise Quiz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Project Work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Verifiable Certificat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533400" y="742950"/>
            <a:ext cx="965632" cy="4114800"/>
            <a:chOff x="533400" y="895350"/>
            <a:chExt cx="965632" cy="41148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533400" y="1610550"/>
              <a:ext cx="853215" cy="504000"/>
            </a:xfrm>
            <a:prstGeom prst="rect">
              <a:avLst/>
            </a:prstGeom>
          </p:spPr>
        </p:pic>
        <p:grpSp>
          <p:nvGrpSpPr>
            <p:cNvPr id="8" name="Group 7"/>
            <p:cNvGrpSpPr/>
            <p:nvPr/>
          </p:nvGrpSpPr>
          <p:grpSpPr>
            <a:xfrm>
              <a:off x="762000" y="2296350"/>
              <a:ext cx="720000" cy="504000"/>
              <a:chOff x="5659045" y="1210738"/>
              <a:chExt cx="2153043" cy="1368288"/>
            </a:xfrm>
          </p:grpSpPr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rgbClr val="4F81BD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641654" y="1408592"/>
                <a:ext cx="1170434" cy="1170434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4F81BD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659045" y="1210738"/>
                <a:ext cx="1135108" cy="1196016"/>
              </a:xfrm>
              <a:prstGeom prst="rect">
                <a:avLst/>
              </a:prstGeom>
            </p:spPr>
          </p:pic>
        </p:grpSp>
        <p:pic>
          <p:nvPicPr>
            <p:cNvPr id="9" name="Picture 2" descr="http://www.thewellatlentrise.org/img/quiz.png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200" y="3028950"/>
              <a:ext cx="504000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62000" y="3790950"/>
              <a:ext cx="612000" cy="560523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62000" y="4398150"/>
              <a:ext cx="737032" cy="612000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838200" y="895350"/>
              <a:ext cx="504000" cy="509278"/>
            </a:xfrm>
            <a:prstGeom prst="rect">
              <a:avLst/>
            </a:prstGeom>
          </p:spPr>
        </p:pic>
      </p:grpSp>
      <p:pic>
        <p:nvPicPr>
          <p:cNvPr id="16" name="Picture 7" descr="edureka logol.jp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2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87306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Main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03802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/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971311" y="2574648"/>
            <a:ext cx="130407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3200" b="1" dirty="0" smtClean="0">
                <a:solidFill>
                  <a:srgbClr val="0070C0"/>
                </a:solidFill>
                <a:ea typeface="Tahoma" pitchFamily="34" charset="0"/>
                <a:cs typeface="Tahoma" pitchFamily="34" charset="0"/>
              </a:rPr>
              <a:t>DEMO</a:t>
            </a:r>
          </a:p>
        </p:txBody>
      </p:sp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68162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ign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3685" y="555627"/>
            <a:ext cx="6624736" cy="4161000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14157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rther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81" r="3827" b="9027"/>
          <a:stretch/>
        </p:blipFill>
        <p:spPr>
          <a:xfrm>
            <a:off x="4680992" y="1265981"/>
            <a:ext cx="3744416" cy="3013258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774816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-work for next mo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lum bright="70000" contrast="-70000"/>
          </a:blip>
          <a:stretch>
            <a:fillRect/>
          </a:stretch>
        </p:blipFill>
        <p:spPr>
          <a:xfrm>
            <a:off x="2600528" y="923497"/>
            <a:ext cx="3743325" cy="3668757"/>
          </a:xfrm>
          <a:prstGeom prst="rect">
            <a:avLst/>
          </a:prstGeom>
        </p:spPr>
      </p:pic>
      <p:sp>
        <p:nvSpPr>
          <p:cNvPr id="5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16540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or next mo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5325" y="698983"/>
            <a:ext cx="5424375" cy="4068281"/>
          </a:xfrm>
          <a:prstGeom prst="rect">
            <a:avLst/>
          </a:prstGeom>
        </p:spPr>
      </p:pic>
      <p:sp>
        <p:nvSpPr>
          <p:cNvPr id="5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80514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48" t="12250" r="7770" b="10751"/>
          <a:stretch/>
        </p:blipFill>
        <p:spPr>
          <a:xfrm>
            <a:off x="2133353" y="1131590"/>
            <a:ext cx="4752528" cy="3668619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3282613" y="761226"/>
            <a:ext cx="2165978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766"/>
            <a:r>
              <a:rPr lang="en-IN" sz="2500" b="1" dirty="0">
                <a:solidFill>
                  <a:srgbClr val="002060"/>
                </a:solidFill>
                <a:latin typeface="Castellar" pitchFamily="18" charset="0"/>
              </a:rPr>
              <a:t>Questions</a:t>
            </a:r>
          </a:p>
        </p:txBody>
      </p:sp>
      <p:pic>
        <p:nvPicPr>
          <p:cNvPr id="7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65931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33400" y="819150"/>
            <a:ext cx="83058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Your feedback is important to us, be it a compliment, a suggestion or a complaint. It helps us to make the course better!</a:t>
            </a:r>
            <a:b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lease spare few minutes to take the survey after the webinar.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765877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E:\Pradeepa N_2014\Gra_Stocke\Annie\Annie_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3518" y="1063042"/>
            <a:ext cx="1779354" cy="3811051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 userDrawn="1"/>
        </p:nvSpPr>
        <p:spPr>
          <a:xfrm>
            <a:off x="3997116" y="843185"/>
            <a:ext cx="2091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ello There!!</a:t>
            </a:r>
          </a:p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y name is Annie. </a:t>
            </a:r>
            <a:b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 love quizzes and</a:t>
            </a:r>
          </a:p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uzzles and I am here to make you guys think and answer my questions.</a:t>
            </a:r>
          </a:p>
        </p:txBody>
      </p:sp>
      <p:sp>
        <p:nvSpPr>
          <p:cNvPr id="8" name="Oval Callout 7"/>
          <p:cNvSpPr/>
          <p:nvPr userDrawn="1"/>
        </p:nvSpPr>
        <p:spPr>
          <a:xfrm>
            <a:off x="3892021" y="765256"/>
            <a:ext cx="2301413" cy="1520575"/>
          </a:xfrm>
          <a:prstGeom prst="wedgeEllipseCallout">
            <a:avLst>
              <a:gd name="adj1" fmla="val -66422"/>
              <a:gd name="adj2" fmla="val 52921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0066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E:\Pradeepa N_2014\Gra_Stocke\Annie\Annie_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3518" y="1063042"/>
            <a:ext cx="1779354" cy="38110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254967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29100" y="1128714"/>
            <a:ext cx="4457700" cy="3638550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21222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9144001" cy="5147673"/>
          </a:xfrm>
          <a:prstGeom prst="rect">
            <a:avLst/>
          </a:prstGeom>
        </p:spPr>
      </p:pic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59702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270" y="838723"/>
            <a:ext cx="3703320" cy="55221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270" y="1390935"/>
            <a:ext cx="3703320" cy="2533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11750" y="838723"/>
            <a:ext cx="3703320" cy="55221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311750" y="1390935"/>
            <a:ext cx="3703320" cy="2533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7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81909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72001" y="1355759"/>
            <a:ext cx="3929586" cy="238222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67139" y="832639"/>
            <a:ext cx="3943350" cy="37639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32230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07A182C6-DE33-4717-9328-D7A600982F21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6F270763-AED9-45CD-9365-BBCA49DD3BFC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E72573F4-59D0-4B9B-8D74-A125A38C884A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 defTabSz="914400"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Rectangle 7"/>
          <p:cNvSpPr/>
          <p:nvPr userDrawn="1"/>
        </p:nvSpPr>
        <p:spPr>
          <a:xfrm>
            <a:off x="0" y="602650"/>
            <a:ext cx="466725" cy="82550"/>
          </a:xfrm>
          <a:prstGeom prst="rect">
            <a:avLst/>
          </a:prstGeom>
          <a:solidFill>
            <a:srgbClr val="4BACC6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26899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bg>
      <p:bgPr>
        <a:blipFill rotWithShape="1"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Shape 177"/>
          <p:cNvSpPr/>
          <p:nvPr/>
        </p:nvSpPr>
        <p:spPr>
          <a:xfrm>
            <a:off x="0" y="598500"/>
            <a:ext cx="466344" cy="8229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algn="ctr"/>
            <a:endParaRPr sz="180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pic>
        <p:nvPicPr>
          <p:cNvPr id="178" name="Shape 178"/>
          <p:cNvPicPr preferRelativeResize="0"/>
          <p:nvPr/>
        </p:nvPicPr>
        <p:blipFill rotWithShape="1">
          <a:blip r:embed="rId3">
            <a:alphaModFix/>
          </a:blip>
          <a:srcRect b="19534"/>
          <a:stretch/>
        </p:blipFill>
        <p:spPr>
          <a:xfrm>
            <a:off x="7315200" y="209554"/>
            <a:ext cx="1714500" cy="346074"/>
          </a:xfrm>
          <a:prstGeom prst="rect">
            <a:avLst/>
          </a:prstGeom>
          <a:noFill/>
          <a:ln>
            <a:noFill/>
          </a:ln>
        </p:spPr>
      </p:pic>
      <p:sp>
        <p:nvSpPr>
          <p:cNvPr id="179" name="Shape 179"/>
          <p:cNvSpPr txBox="1"/>
          <p:nvPr/>
        </p:nvSpPr>
        <p:spPr>
          <a:xfrm>
            <a:off x="34925" y="4795839"/>
            <a:ext cx="1441449" cy="276998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r>
              <a:rPr lang="en-IN" sz="1200" b="1">
                <a:solidFill>
                  <a:srgbClr val="0070C0"/>
                </a:solidFill>
                <a:latin typeface="Tahoma"/>
                <a:ea typeface="Tahoma"/>
                <a:cs typeface="Tahoma"/>
                <a:sym typeface="Tahoma"/>
              </a:rPr>
              <a:t>Slide</a:t>
            </a:r>
            <a:r>
              <a:rPr lang="en-IN" sz="1200">
                <a:solidFill>
                  <a:srgbClr val="0070C0"/>
                </a:solidFill>
                <a:latin typeface="Tahoma"/>
                <a:ea typeface="Tahoma"/>
                <a:cs typeface="Tahoma"/>
                <a:sym typeface="Tahoma"/>
              </a:rPr>
              <a:t> </a:t>
            </a:r>
            <a:fld id="{00000000-1234-1234-1234-123412341234}" type="slidenum">
              <a:rPr lang="en-IN" sz="1200">
                <a:solidFill>
                  <a:srgbClr val="0070C0"/>
                </a:solidFill>
                <a:latin typeface="Tahoma"/>
                <a:ea typeface="Tahoma"/>
                <a:cs typeface="Tahoma"/>
                <a:sym typeface="Tahoma"/>
              </a:rPr>
              <a:pPr>
                <a:buSzPct val="25000"/>
              </a:pPr>
              <a:t>‹#›</a:t>
            </a:fld>
            <a:endParaRPr lang="en-IN" sz="1200">
              <a:solidFill>
                <a:srgbClr val="0070C0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5" name="Rectangle 7"/>
          <p:cNvSpPr/>
          <p:nvPr userDrawn="1"/>
        </p:nvSpPr>
        <p:spPr>
          <a:xfrm>
            <a:off x="0" y="602650"/>
            <a:ext cx="466725" cy="82550"/>
          </a:xfrm>
          <a:prstGeom prst="rect">
            <a:avLst/>
          </a:prstGeom>
          <a:solidFill>
            <a:srgbClr val="4BACC6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9447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98501"/>
            <a:ext cx="466344" cy="8229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6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defTabSz="914400"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5551281" y="4755657"/>
            <a:ext cx="362323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dureka.co/testing-with-selenium-webdriver</a:t>
            </a:r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72350" y="258007"/>
            <a:ext cx="1771650" cy="32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961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178214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444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6419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7278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Main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45340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196580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130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4205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66613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49368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8023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1594485"/>
            <a:ext cx="7772400" cy="10801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2880360"/>
            <a:ext cx="6400799" cy="12858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881749" y="4895105"/>
            <a:ext cx="2109851" cy="184666"/>
          </a:xfrm>
        </p:spPr>
        <p:txBody>
          <a:bodyPr lIns="0" tIns="0" rIns="0" bIns="0"/>
          <a:lstStyle>
            <a:lvl1pPr>
              <a:defRPr sz="1200">
                <a:solidFill>
                  <a:srgbClr val="006FC0"/>
                </a:solidFill>
                <a:latin typeface="Tahoma"/>
                <a:cs typeface="Tahoma"/>
              </a:defRPr>
            </a:lvl1pPr>
          </a:lstStyle>
          <a:p>
            <a:pPr marL="12700"/>
            <a:r>
              <a:rPr lang="en-IN" spc="-5" dirty="0" smtClean="0"/>
              <a:t>ww</a:t>
            </a:r>
            <a:r>
              <a:rPr lang="en-IN" spc="-40" dirty="0" smtClean="0"/>
              <a:t>w</a:t>
            </a:r>
            <a:r>
              <a:rPr lang="en-IN" spc="-5" dirty="0" smtClean="0"/>
              <a:t>.edureka.</a:t>
            </a:r>
            <a:r>
              <a:rPr lang="en-IN" dirty="0" smtClean="0"/>
              <a:t>in/python</a:t>
            </a:r>
            <a:endParaRPr lang="en-IN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 descr="edureka logol.jpg"/>
          <p:cNvPicPr>
            <a:picLocks noChangeAspect="1"/>
          </p:cNvPicPr>
          <p:nvPr userDrawn="1"/>
        </p:nvPicPr>
        <p:blipFill rotWithShape="1">
          <a:blip r:embed="rId2" cstate="print"/>
          <a:srcRect b="11556"/>
          <a:stretch/>
        </p:blipFill>
        <p:spPr>
          <a:xfrm>
            <a:off x="7277088" y="209550"/>
            <a:ext cx="1714512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7164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 userDrawn="1"/>
        </p:nvSpPr>
        <p:spPr>
          <a:xfrm>
            <a:off x="0" y="0"/>
            <a:ext cx="9144000" cy="5143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pPr defTabSz="914400"/>
            <a:endParaRPr sz="1800" dirty="0">
              <a:solidFill>
                <a:prstClr val="black"/>
              </a:solidFill>
            </a:endParaRPr>
          </a:p>
        </p:txBody>
      </p:sp>
      <p:sp>
        <p:nvSpPr>
          <p:cNvPr id="17" name="bk object 17"/>
          <p:cNvSpPr/>
          <p:nvPr/>
        </p:nvSpPr>
        <p:spPr>
          <a:xfrm>
            <a:off x="0" y="598551"/>
            <a:ext cx="466725" cy="82550"/>
          </a:xfrm>
          <a:custGeom>
            <a:avLst/>
            <a:gdLst/>
            <a:ahLst/>
            <a:cxnLst/>
            <a:rect l="l" t="t" r="r" b="b"/>
            <a:pathLst>
              <a:path w="466725" h="82550">
                <a:moveTo>
                  <a:pt x="0" y="82296"/>
                </a:moveTo>
                <a:lnTo>
                  <a:pt x="466344" y="82296"/>
                </a:lnTo>
                <a:lnTo>
                  <a:pt x="466344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defTabSz="914400"/>
            <a:endParaRPr sz="1800" dirty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00">
                <a:solidFill>
                  <a:srgbClr val="252525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400" b="1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 dirty="0"/>
          </a:p>
        </p:txBody>
      </p:sp>
      <p:pic>
        <p:nvPicPr>
          <p:cNvPr id="10" name="Picture 9" descr="edureka logol.jpg"/>
          <p:cNvPicPr>
            <a:picLocks noChangeAspect="1"/>
          </p:cNvPicPr>
          <p:nvPr userDrawn="1"/>
        </p:nvPicPr>
        <p:blipFill rotWithShape="1">
          <a:blip r:embed="rId3" cstate="print"/>
          <a:srcRect b="11556"/>
          <a:stretch/>
        </p:blipFill>
        <p:spPr>
          <a:xfrm>
            <a:off x="7277088" y="209550"/>
            <a:ext cx="1714512" cy="3810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0" y="4810125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defTabSz="914400"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6896100" y="4803978"/>
            <a:ext cx="2819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dureka.co/python</a:t>
            </a:r>
            <a:endParaRPr lang="en-US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4685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00">
                <a:solidFill>
                  <a:srgbClr val="252525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3394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59" y="1183005"/>
            <a:ext cx="3977640" cy="3394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7223506" y="4840833"/>
            <a:ext cx="1668145" cy="184666"/>
          </a:xfrm>
        </p:spPr>
        <p:txBody>
          <a:bodyPr lIns="0" tIns="0" rIns="0" bIns="0"/>
          <a:lstStyle>
            <a:lvl1pPr>
              <a:defRPr sz="1200">
                <a:solidFill>
                  <a:srgbClr val="006FC0"/>
                </a:solidFill>
                <a:latin typeface="Tahoma"/>
                <a:cs typeface="Tahoma"/>
              </a:defRPr>
            </a:lvl1pPr>
          </a:lstStyle>
          <a:p>
            <a:pPr marL="12700"/>
            <a:r>
              <a:rPr lang="en-IN" spc="-5" dirty="0" smtClean="0"/>
              <a:t>ww</a:t>
            </a:r>
            <a:r>
              <a:rPr lang="en-IN" spc="-40" dirty="0" smtClean="0"/>
              <a:t>w</a:t>
            </a:r>
            <a:r>
              <a:rPr lang="en-IN" spc="-5" dirty="0" smtClean="0"/>
              <a:t>.edureka.</a:t>
            </a:r>
            <a:r>
              <a:rPr lang="en-IN" dirty="0" smtClean="0"/>
              <a:t>in/pyth</a:t>
            </a:r>
            <a:r>
              <a:rPr lang="en-IN" spc="-5" dirty="0" smtClean="0"/>
              <a:t>on</a:t>
            </a:r>
            <a:endParaRPr lang="en-IN"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8" descr="edureka logol.jpg"/>
          <p:cNvPicPr>
            <a:picLocks noChangeAspect="1"/>
          </p:cNvPicPr>
          <p:nvPr userDrawn="1"/>
        </p:nvPicPr>
        <p:blipFill rotWithShape="1">
          <a:blip r:embed="rId2" cstate="print"/>
          <a:srcRect b="11556"/>
          <a:stretch/>
        </p:blipFill>
        <p:spPr>
          <a:xfrm>
            <a:off x="7277088" y="209550"/>
            <a:ext cx="1714512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43878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 userDrawn="1"/>
        </p:nvSpPr>
        <p:spPr>
          <a:xfrm>
            <a:off x="0" y="0"/>
            <a:ext cx="9144000" cy="5143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pPr defTabSz="914400"/>
            <a:endParaRPr sz="1800" dirty="0">
              <a:solidFill>
                <a:prstClr val="black"/>
              </a:solidFill>
            </a:endParaRPr>
          </a:p>
        </p:txBody>
      </p:sp>
      <p:sp>
        <p:nvSpPr>
          <p:cNvPr id="17" name="bk object 17"/>
          <p:cNvSpPr/>
          <p:nvPr/>
        </p:nvSpPr>
        <p:spPr>
          <a:xfrm>
            <a:off x="0" y="598551"/>
            <a:ext cx="466725" cy="82550"/>
          </a:xfrm>
          <a:custGeom>
            <a:avLst/>
            <a:gdLst/>
            <a:ahLst/>
            <a:cxnLst/>
            <a:rect l="l" t="t" r="r" b="b"/>
            <a:pathLst>
              <a:path w="466725" h="82550">
                <a:moveTo>
                  <a:pt x="0" y="82296"/>
                </a:moveTo>
                <a:lnTo>
                  <a:pt x="466344" y="82296"/>
                </a:lnTo>
                <a:lnTo>
                  <a:pt x="466344" y="0"/>
                </a:lnTo>
                <a:lnTo>
                  <a:pt x="0" y="0"/>
                </a:lnTo>
                <a:lnTo>
                  <a:pt x="0" y="82296"/>
                </a:lnTo>
                <a:close/>
              </a:path>
            </a:pathLst>
          </a:custGeom>
          <a:solidFill>
            <a:srgbClr val="5C9B1D"/>
          </a:solidFill>
        </p:spPr>
        <p:txBody>
          <a:bodyPr wrap="square" lIns="0" tIns="0" rIns="0" bIns="0" rtlCol="0">
            <a:spAutoFit/>
          </a:bodyPr>
          <a:lstStyle/>
          <a:p>
            <a:pPr defTabSz="914400"/>
            <a:endParaRPr sz="1800" dirty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00">
                <a:solidFill>
                  <a:srgbClr val="252525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7223506" y="4840833"/>
            <a:ext cx="1668145" cy="184666"/>
          </a:xfrm>
        </p:spPr>
        <p:txBody>
          <a:bodyPr lIns="0" tIns="0" rIns="0" bIns="0"/>
          <a:lstStyle>
            <a:lvl1pPr>
              <a:defRPr sz="1200">
                <a:solidFill>
                  <a:srgbClr val="006FC0"/>
                </a:solidFill>
                <a:latin typeface="Tahoma"/>
                <a:cs typeface="Tahoma"/>
              </a:defRPr>
            </a:lvl1pPr>
          </a:lstStyle>
          <a:p>
            <a:pPr marL="12700"/>
            <a:r>
              <a:rPr lang="en-IN" spc="-5" dirty="0" smtClean="0"/>
              <a:t>ww</a:t>
            </a:r>
            <a:r>
              <a:rPr lang="en-IN" spc="-40" dirty="0" smtClean="0"/>
              <a:t>w</a:t>
            </a:r>
            <a:r>
              <a:rPr lang="en-IN" spc="-5" dirty="0" smtClean="0"/>
              <a:t>.edureka.</a:t>
            </a:r>
            <a:r>
              <a:rPr lang="en-IN" dirty="0" smtClean="0"/>
              <a:t>in/pyth</a:t>
            </a:r>
            <a:r>
              <a:rPr lang="en-IN" spc="-5" dirty="0" smtClean="0"/>
              <a:t>on</a:t>
            </a:r>
            <a:endParaRPr lang="en-IN"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8" descr="edureka logol.jpg"/>
          <p:cNvPicPr>
            <a:picLocks noChangeAspect="1"/>
          </p:cNvPicPr>
          <p:nvPr userDrawn="1"/>
        </p:nvPicPr>
        <p:blipFill rotWithShape="1">
          <a:blip r:embed="rId3" cstate="print"/>
          <a:srcRect b="11556"/>
          <a:stretch/>
        </p:blipFill>
        <p:spPr>
          <a:xfrm>
            <a:off x="7277088" y="209550"/>
            <a:ext cx="1714512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0501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/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971311" y="2574648"/>
            <a:ext cx="130407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3200" b="1" dirty="0" smtClean="0">
                <a:solidFill>
                  <a:srgbClr val="0070C0"/>
                </a:solidFill>
                <a:latin typeface="+mj-lt"/>
                <a:ea typeface="Tahoma" pitchFamily="34" charset="0"/>
                <a:cs typeface="Tahoma" pitchFamily="34" charset="0"/>
              </a:rPr>
              <a:t>DEMO</a:t>
            </a:r>
          </a:p>
        </p:txBody>
      </p:sp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31393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5143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pPr defTabSz="914400"/>
            <a:endParaRPr sz="1800" dirty="0">
              <a:solidFill>
                <a:prstClr val="black"/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 descr="edureka logol.jpg"/>
          <p:cNvPicPr>
            <a:picLocks noChangeAspect="1"/>
          </p:cNvPicPr>
          <p:nvPr userDrawn="1"/>
        </p:nvPicPr>
        <p:blipFill rotWithShape="1">
          <a:blip r:embed="rId3" cstate="print"/>
          <a:srcRect b="11556"/>
          <a:stretch/>
        </p:blipFill>
        <p:spPr>
          <a:xfrm>
            <a:off x="7277088" y="209550"/>
            <a:ext cx="1714512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4586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/>
          <p:nvPr userDrawn="1"/>
        </p:nvSpPr>
        <p:spPr>
          <a:xfrm>
            <a:off x="0" y="612275"/>
            <a:ext cx="466725" cy="8255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66"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07A182C6-DE33-4717-9328-D7A600982F21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6F270763-AED9-45CD-9365-BBCA49DD3BFC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 defTabSz="914400"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E72573F4-59D0-4B9B-8D74-A125A38C884A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 defTabSz="914400"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TextBox 10"/>
          <p:cNvSpPr txBox="1"/>
          <p:nvPr userDrawn="1"/>
        </p:nvSpPr>
        <p:spPr>
          <a:xfrm>
            <a:off x="5137985" y="4764109"/>
            <a:ext cx="39084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US" sz="1200" kern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dureka.co/qlikview</a:t>
            </a:r>
            <a:endParaRPr lang="en-IN" sz="1200" kern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037499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98501"/>
            <a:ext cx="466344" cy="8229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6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defTabSz="914400"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5551281" y="4755657"/>
            <a:ext cx="362323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/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dureka.co/testing-with-selenium-webdriver</a:t>
            </a:r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72350" y="258007"/>
            <a:ext cx="1771650" cy="32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344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ign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3685" y="555627"/>
            <a:ext cx="6624736" cy="4161000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7468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rther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81" r="3827" b="9027"/>
          <a:stretch/>
        </p:blipFill>
        <p:spPr>
          <a:xfrm>
            <a:off x="4680992" y="1265981"/>
            <a:ext cx="3744416" cy="3013258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71373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-work for next mo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lum bright="70000" contrast="-70000"/>
          </a:blip>
          <a:stretch>
            <a:fillRect/>
          </a:stretch>
        </p:blipFill>
        <p:spPr>
          <a:xfrm>
            <a:off x="2600528" y="923497"/>
            <a:ext cx="3743325" cy="3668757"/>
          </a:xfrm>
          <a:prstGeom prst="rect">
            <a:avLst/>
          </a:prstGeom>
        </p:spPr>
      </p:pic>
      <p:sp>
        <p:nvSpPr>
          <p:cNvPr id="5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00650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or next mo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5325" y="698983"/>
            <a:ext cx="5424375" cy="4068281"/>
          </a:xfrm>
          <a:prstGeom prst="rect">
            <a:avLst/>
          </a:prstGeom>
        </p:spPr>
      </p:pic>
      <p:sp>
        <p:nvSpPr>
          <p:cNvPr id="5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2137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25.png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24.emf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5" Type="http://schemas.openxmlformats.org/officeDocument/2006/relationships/slideLayout" Target="../slideLayouts/slideLayout50.xml"/><Relationship Id="rId10" Type="http://schemas.openxmlformats.org/officeDocument/2006/relationships/image" Target="../media/image29.jpeg"/><Relationship Id="rId4" Type="http://schemas.openxmlformats.org/officeDocument/2006/relationships/slideLayout" Target="../slideLayouts/slideLayout49.xml"/><Relationship Id="rId9" Type="http://schemas.openxmlformats.org/officeDocument/2006/relationships/image" Target="../media/image28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8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10"/>
          <p:cNvSpPr txBox="1"/>
          <p:nvPr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10"/>
          <p:cNvSpPr txBox="1"/>
          <p:nvPr/>
        </p:nvSpPr>
        <p:spPr>
          <a:xfrm>
            <a:off x="5137985" y="4764109"/>
            <a:ext cx="39084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US" sz="1200" kern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dureka.co/qlikview</a:t>
            </a:r>
            <a:endParaRPr lang="en-IN" sz="1200" kern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77296" y="90432"/>
            <a:ext cx="7886700" cy="64780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Rectangle 7"/>
          <p:cNvSpPr/>
          <p:nvPr userDrawn="1"/>
        </p:nvSpPr>
        <p:spPr>
          <a:xfrm>
            <a:off x="0" y="602650"/>
            <a:ext cx="466725" cy="8255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66"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832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9" r:id="rId2"/>
    <p:sldLayoutId id="2147483678" r:id="rId3"/>
    <p:sldLayoutId id="2147483663" r:id="rId4"/>
    <p:sldLayoutId id="2147483670" r:id="rId5"/>
    <p:sldLayoutId id="2147483674" r:id="rId6"/>
    <p:sldLayoutId id="2147483672" r:id="rId7"/>
    <p:sldLayoutId id="2147483675" r:id="rId8"/>
    <p:sldLayoutId id="2147483673" r:id="rId9"/>
    <p:sldLayoutId id="2147483671" r:id="rId10"/>
    <p:sldLayoutId id="2147483676" r:id="rId11"/>
    <p:sldLayoutId id="2147483679" r:id="rId12"/>
    <p:sldLayoutId id="2147483680" r:id="rId13"/>
    <p:sldLayoutId id="2147483677" r:id="rId14"/>
    <p:sldLayoutId id="2147483667" r:id="rId15"/>
    <p:sldLayoutId id="2147483668" r:id="rId16"/>
  </p:sldLayoutIdLst>
  <p:timing>
    <p:tnLst>
      <p:par>
        <p:cTn id="1" dur="indefinite" restart="never" nodeType="tmRoot"/>
      </p:par>
    </p:tnLst>
  </p:timing>
  <p:txStyles>
    <p:titleStyle>
      <a:lvl1pPr algn="l" defTabSz="914378" rtl="0" eaLnBrk="1" latinLnBrk="0" hangingPunct="1">
        <a:spcBef>
          <a:spcPct val="0"/>
        </a:spcBef>
        <a:buNone/>
        <a:defRPr lang="en-US" sz="26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588" indent="-128588" algn="just" defTabSz="914378" rtl="0" eaLnBrk="1" latinLnBrk="0" hangingPunct="1">
        <a:lnSpc>
          <a:spcPct val="150000"/>
        </a:lnSpc>
        <a:spcBef>
          <a:spcPct val="20000"/>
        </a:spcBef>
        <a:buFont typeface="Symbol" panose="05050102010706020507" pitchFamily="18" charset="2"/>
        <a:buChar char="®"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585776" indent="-128588" algn="just" defTabSz="914378" rtl="0" eaLnBrk="1" latinLnBrk="0" hangingPunct="1">
        <a:lnSpc>
          <a:spcPct val="150000"/>
        </a:lnSpc>
        <a:spcBef>
          <a:spcPct val="20000"/>
        </a:spcBef>
        <a:buFont typeface="Tahoma" panose="020B0604030504040204" pitchFamily="34" charset="0"/>
        <a:buChar char="»"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914378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371566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1828754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sz="12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40" userDrawn="1">
          <p15:clr>
            <a:srgbClr val="F26B43"/>
          </p15:clr>
        </p15:guide>
        <p15:guide id="2" pos="2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1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77296" y="90432"/>
            <a:ext cx="7886700" cy="64780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Box 10"/>
          <p:cNvSpPr txBox="1"/>
          <p:nvPr userDrawn="1"/>
        </p:nvSpPr>
        <p:spPr>
          <a:xfrm>
            <a:off x="5137985" y="4764109"/>
            <a:ext cx="39084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US" sz="1200" kern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dureka.co/qlikview</a:t>
            </a:r>
            <a:endParaRPr lang="en-IN" sz="1200" kern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921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0" r:id="rId19"/>
  </p:sldLayoutIdLst>
  <p:timing>
    <p:tnLst>
      <p:par>
        <p:cTn id="1" dur="indefinite" restart="never" nodeType="tmRoot"/>
      </p:par>
    </p:tnLst>
  </p:timing>
  <p:txStyles>
    <p:titleStyle>
      <a:lvl1pPr algn="l" defTabSz="914378" rtl="0" eaLnBrk="1" latinLnBrk="0" hangingPunct="1">
        <a:spcBef>
          <a:spcPct val="0"/>
        </a:spcBef>
        <a:buNone/>
        <a:defRPr lang="en-US" sz="26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588" indent="-128588" algn="just" defTabSz="914378" rtl="0" eaLnBrk="1" latinLnBrk="0" hangingPunct="1">
        <a:lnSpc>
          <a:spcPct val="150000"/>
        </a:lnSpc>
        <a:spcBef>
          <a:spcPct val="20000"/>
        </a:spcBef>
        <a:buFont typeface="Symbol" panose="05050102010706020507" pitchFamily="18" charset="2"/>
        <a:buChar char="®"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585776" indent="-128588" algn="just" defTabSz="914378" rtl="0" eaLnBrk="1" latinLnBrk="0" hangingPunct="1">
        <a:lnSpc>
          <a:spcPct val="150000"/>
        </a:lnSpc>
        <a:spcBef>
          <a:spcPct val="20000"/>
        </a:spcBef>
        <a:buFont typeface="Tahoma" panose="020B0604030504040204" pitchFamily="34" charset="0"/>
        <a:buChar char="»"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914378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371566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1828754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sz="12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40">
          <p15:clr>
            <a:srgbClr val="F26B43"/>
          </p15:clr>
        </p15:guide>
        <p15:guide id="2" pos="2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914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19051"/>
            <a:ext cx="9144000" cy="514349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pPr defTabSz="914400"/>
            <a:endParaRPr sz="1800" dirty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83209" y="217551"/>
            <a:ext cx="8177580" cy="4260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>
                <a:solidFill>
                  <a:srgbClr val="252525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007745" y="1112392"/>
            <a:ext cx="7128509" cy="12884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1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7223506" y="4840833"/>
            <a:ext cx="1668145" cy="1917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>
                <a:solidFill>
                  <a:srgbClr val="006FC0"/>
                </a:solidFill>
                <a:latin typeface="Tahoma"/>
                <a:cs typeface="Tahoma"/>
              </a:defRPr>
            </a:lvl1pPr>
          </a:lstStyle>
          <a:p>
            <a:pPr marL="12700" defTabSz="914400"/>
            <a:r>
              <a:rPr lang="en-IN" spc="-5" dirty="0" smtClean="0"/>
              <a:t>ww</a:t>
            </a:r>
            <a:r>
              <a:rPr lang="en-IN" spc="-40" dirty="0" smtClean="0"/>
              <a:t>w</a:t>
            </a:r>
            <a:r>
              <a:rPr lang="en-IN" spc="-5" dirty="0" smtClean="0"/>
              <a:t>.edureka.</a:t>
            </a:r>
            <a:r>
              <a:rPr lang="en-IN" dirty="0" smtClean="0"/>
              <a:t>in/python</a:t>
            </a:r>
            <a:endParaRPr lang="en-IN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4783455"/>
            <a:ext cx="2103120" cy="2571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 sz="18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 descr="edureka logol.jpg"/>
          <p:cNvPicPr>
            <a:picLocks noChangeAspect="1"/>
          </p:cNvPicPr>
          <p:nvPr userDrawn="1"/>
        </p:nvPicPr>
        <p:blipFill rotWithShape="1">
          <a:blip r:embed="rId10" cstate="print"/>
          <a:srcRect b="11556"/>
          <a:stretch/>
        </p:blipFill>
        <p:spPr>
          <a:xfrm>
            <a:off x="7277088" y="209550"/>
            <a:ext cx="1714512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026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</p:sldLayoutIdLst>
  <p:hf sldNum="0" hd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5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38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587018" y="2481423"/>
            <a:ext cx="79699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err="1" smtClean="0">
                <a:latin typeface="Castellar" panose="020A0402060406010301" pitchFamily="18" charset="0"/>
              </a:rPr>
              <a:t>Qlikview</a:t>
            </a:r>
            <a:r>
              <a:rPr lang="en-US" sz="2000" b="1" dirty="0" smtClean="0">
                <a:latin typeface="Castellar" panose="020A0402060406010301" pitchFamily="18" charset="0"/>
              </a:rPr>
              <a:t> </a:t>
            </a:r>
            <a:r>
              <a:rPr lang="en-US" sz="2000" b="1" dirty="0">
                <a:latin typeface="Castellar" panose="020A0402060406010301" pitchFamily="18" charset="0"/>
              </a:rPr>
              <a:t>for Beginners</a:t>
            </a:r>
            <a:endParaRPr lang="en-IN" sz="2000" b="1" dirty="0">
              <a:latin typeface="Castellar" panose="020A0402060406010301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579123" y="2881533"/>
            <a:ext cx="794886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iew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 &amp; Data Visualization with </a:t>
            </a:r>
            <a:r>
              <a:rPr lang="en-US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Qlikview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urse </a:t>
            </a:r>
            <a:r>
              <a:rPr lang="en-I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tails </a:t>
            </a: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t 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dureka.co/qlikview</a:t>
            </a:r>
            <a:endParaRPr lang="en-IN" sz="14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078" name="Picture 6" descr="http://tdcat.com/wp-content/uploads/2014/10/Qlikview_Q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225" y="839214"/>
            <a:ext cx="1527548" cy="1453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593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lary Trends in India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2961" y="895384"/>
            <a:ext cx="6032570" cy="360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3697932" y="4715515"/>
            <a:ext cx="2558302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/>
              <a:t>Source: Indeed</a:t>
            </a:r>
          </a:p>
        </p:txBody>
      </p:sp>
    </p:spTree>
    <p:extLst>
      <p:ext uri="{BB962C8B-B14F-4D97-AF65-F5344CB8AC3E}">
        <p14:creationId xmlns:p14="http://schemas.microsoft.com/office/powerpoint/2010/main" val="333464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ob Trends in India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4075351" y="4386198"/>
            <a:ext cx="2558302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/>
              <a:t>Source: </a:t>
            </a:r>
            <a:r>
              <a:rPr lang="en-US" dirty="0" smtClean="0"/>
              <a:t>Naukri.com</a:t>
            </a:r>
            <a:endParaRPr lang="en-US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5808895"/>
              </p:ext>
            </p:extLst>
          </p:nvPr>
        </p:nvGraphicFramePr>
        <p:xfrm>
          <a:off x="1096002" y="852384"/>
          <a:ext cx="7191965" cy="34559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12078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vantages of using </a:t>
            </a:r>
            <a:r>
              <a:rPr lang="en-US" dirty="0" err="1" smtClean="0"/>
              <a:t>QlikView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50000"/>
              </a:lnSpc>
            </a:pPr>
            <a:r>
              <a:rPr lang="en-US" dirty="0" smtClean="0"/>
              <a:t> Down – Top approach of development instead of Top - Down approach of adoption</a:t>
            </a:r>
          </a:p>
          <a:p>
            <a:pPr>
              <a:lnSpc>
                <a:spcPct val="250000"/>
              </a:lnSpc>
            </a:pPr>
            <a:r>
              <a:rPr lang="en-US" dirty="0" smtClean="0"/>
              <a:t> Analyst &amp; Business Friendly approach of using </a:t>
            </a:r>
            <a:r>
              <a:rPr lang="en-US" dirty="0" err="1" smtClean="0"/>
              <a:t>QlikView</a:t>
            </a:r>
            <a:endParaRPr lang="en-US" dirty="0" smtClean="0"/>
          </a:p>
          <a:p>
            <a:pPr>
              <a:lnSpc>
                <a:spcPct val="250000"/>
              </a:lnSpc>
            </a:pPr>
            <a:r>
              <a:rPr lang="en-US" dirty="0"/>
              <a:t> </a:t>
            </a:r>
            <a:r>
              <a:rPr lang="en-US" dirty="0" smtClean="0"/>
              <a:t>Faster Development &amp; Change Management</a:t>
            </a:r>
          </a:p>
          <a:p>
            <a:pPr>
              <a:lnSpc>
                <a:spcPct val="250000"/>
              </a:lnSpc>
            </a:pPr>
            <a:r>
              <a:rPr lang="en-US" dirty="0"/>
              <a:t> </a:t>
            </a:r>
            <a:r>
              <a:rPr lang="en-US" dirty="0" smtClean="0"/>
              <a:t>Self Service BI for End Users</a:t>
            </a:r>
          </a:p>
          <a:p>
            <a:pPr>
              <a:lnSpc>
                <a:spcPct val="250000"/>
              </a:lnSpc>
            </a:pPr>
            <a:r>
              <a:rPr lang="en-US" dirty="0" smtClean="0"/>
              <a:t> Minimal previous IT knowledge to start working on </a:t>
            </a:r>
            <a:r>
              <a:rPr lang="en-US" dirty="0" err="1" smtClean="0"/>
              <a:t>QlikView</a:t>
            </a:r>
            <a:endParaRPr lang="en-US" dirty="0" smtClean="0"/>
          </a:p>
          <a:p>
            <a:pPr>
              <a:lnSpc>
                <a:spcPct val="250000"/>
              </a:lnSpc>
            </a:pPr>
            <a:r>
              <a:rPr lang="en-US" dirty="0"/>
              <a:t> </a:t>
            </a:r>
            <a:r>
              <a:rPr lang="en-US" dirty="0" smtClean="0"/>
              <a:t>Data Integration, ETL and Presentation in one tool</a:t>
            </a:r>
          </a:p>
          <a:p>
            <a:pPr>
              <a:lnSpc>
                <a:spcPct val="250000"/>
              </a:lnSpc>
            </a:pPr>
            <a:r>
              <a:rPr lang="en-US" dirty="0"/>
              <a:t> </a:t>
            </a:r>
            <a:r>
              <a:rPr lang="en-US" dirty="0" smtClean="0"/>
              <a:t>Efficient Multilayer application development</a:t>
            </a:r>
          </a:p>
        </p:txBody>
      </p:sp>
    </p:spTree>
    <p:extLst>
      <p:ext uri="{BB962C8B-B14F-4D97-AF65-F5344CB8AC3E}">
        <p14:creationId xmlns:p14="http://schemas.microsoft.com/office/powerpoint/2010/main" val="3257262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ays company adopting </a:t>
            </a:r>
            <a:r>
              <a:rPr lang="en-US" dirty="0" err="1" smtClean="0"/>
              <a:t>QlikView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488" y="801170"/>
            <a:ext cx="7439025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4090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395536" y="123478"/>
            <a:ext cx="5497672" cy="436125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35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600" dirty="0" smtClean="0">
                <a:solidFill>
                  <a:prstClr val="black"/>
                </a:solidFill>
                <a:ea typeface="Tahoma" panose="020B0604030504040204" pitchFamily="34" charset="0"/>
                <a:cs typeface="Tahoma" panose="020B0604030504040204" pitchFamily="34" charset="0"/>
              </a:rPr>
              <a:t>Selenium Suite – Selenium Grid</a:t>
            </a:r>
            <a:endParaRPr lang="en-US" sz="2600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9553" y="869661"/>
            <a:ext cx="244827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14400">
              <a:lnSpc>
                <a:spcPct val="150000"/>
              </a:lnSpc>
              <a:buClr>
                <a:prstClr val="black"/>
              </a:buClr>
              <a:buFont typeface="Symbol" panose="05050102010706020507" pitchFamily="18" charset="2"/>
              <a:buChar char="®"/>
            </a:pPr>
            <a:r>
              <a:rPr lang="en-US" sz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lenium-Grid runs multiple tests at the same time against different machines running different browsers and operating systems</a:t>
            </a:r>
            <a:endParaRPr lang="en-US" sz="1200" dirty="0" smtClean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2843808" y="1131590"/>
            <a:ext cx="5764693" cy="3211991"/>
            <a:chOff x="2835435" y="1491630"/>
            <a:chExt cx="5764693" cy="3211991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148064" y="1491630"/>
              <a:ext cx="892661" cy="1249725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5596" y="3332179"/>
              <a:ext cx="874068" cy="874068"/>
            </a:xfrm>
            <a:prstGeom prst="rect">
              <a:avLst/>
            </a:prstGeom>
          </p:spPr>
        </p:pic>
        <p:cxnSp>
          <p:nvCxnSpPr>
            <p:cNvPr id="11" name="Elbow Connector 10"/>
            <p:cNvCxnSpPr/>
            <p:nvPr/>
          </p:nvCxnSpPr>
          <p:spPr>
            <a:xfrm rot="16200000" flipH="1">
              <a:off x="5887871" y="2447461"/>
              <a:ext cx="1002456" cy="686281"/>
            </a:xfrm>
            <a:prstGeom prst="bentConnector3">
              <a:avLst>
                <a:gd name="adj1" fmla="val 50000"/>
              </a:avLst>
            </a:prstGeom>
            <a:ln w="12700"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2" name="Elbow Connector 11"/>
            <p:cNvCxnSpPr>
              <a:stCxn id="9" idx="3"/>
            </p:cNvCxnSpPr>
            <p:nvPr/>
          </p:nvCxnSpPr>
          <p:spPr>
            <a:xfrm>
              <a:off x="6040725" y="2116493"/>
              <a:ext cx="1854654" cy="1193787"/>
            </a:xfrm>
            <a:prstGeom prst="bentConnector2">
              <a:avLst/>
            </a:prstGeom>
            <a:ln w="12700"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3" name="Elbow Connector 12"/>
            <p:cNvCxnSpPr>
              <a:stCxn id="9" idx="1"/>
            </p:cNvCxnSpPr>
            <p:nvPr/>
          </p:nvCxnSpPr>
          <p:spPr>
            <a:xfrm rot="10800000" flipV="1">
              <a:off x="3410402" y="2116492"/>
              <a:ext cx="1737663" cy="1205815"/>
            </a:xfrm>
            <a:prstGeom prst="bentConnector2">
              <a:avLst/>
            </a:prstGeom>
            <a:ln w="12700"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4" name="Elbow Connector 13"/>
            <p:cNvCxnSpPr/>
            <p:nvPr/>
          </p:nvCxnSpPr>
          <p:spPr>
            <a:xfrm rot="5400000">
              <a:off x="4255174" y="2446830"/>
              <a:ext cx="1002457" cy="687543"/>
            </a:xfrm>
            <a:prstGeom prst="bentConnector3">
              <a:avLst/>
            </a:prstGeom>
            <a:ln w="12700"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2835435" y="4241956"/>
              <a:ext cx="104260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US" sz="1200" dirty="0" smtClean="0">
                  <a:solidFill>
                    <a:srgbClr val="0070C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Node 1: IE on Windows</a:t>
              </a:r>
              <a:endPara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926817" y="4226854"/>
              <a:ext cx="94557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US" sz="1200" dirty="0" smtClean="0">
                  <a:solidFill>
                    <a:srgbClr val="0070C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Node 2: Android</a:t>
              </a:r>
              <a:endPara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6135836" y="4226854"/>
              <a:ext cx="122639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US" sz="1200" dirty="0" smtClean="0">
                  <a:solidFill>
                    <a:srgbClr val="0070C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Node 3: Safari on Mac</a:t>
              </a:r>
              <a:endPara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7373738" y="4241955"/>
              <a:ext cx="122639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US" sz="1200" dirty="0" smtClean="0">
                  <a:solidFill>
                    <a:srgbClr val="0070C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Node 4: Firefox in Ubuntu</a:t>
              </a:r>
              <a:endPara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19" name="Rectangle 18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sz="4000" b="1" dirty="0" smtClean="0">
                <a:solidFill>
                  <a:prstClr val="white"/>
                </a:solidFill>
                <a:cs typeface="Calibri" panose="020F0502020204030204" pitchFamily="34" charset="0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3417887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>
                <a:latin typeface="Calibri" panose="020F0502020204030204" pitchFamily="34" charset="0"/>
              </a:rPr>
              <a:t>Certification </a:t>
            </a:r>
            <a:endParaRPr lang="en-US" sz="2400">
              <a:latin typeface="Calibri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134016" y="948682"/>
            <a:ext cx="69127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prstClr val="black"/>
                </a:solidFill>
              </a:rPr>
              <a:t>Get certified in </a:t>
            </a:r>
            <a:r>
              <a:rPr lang="en-US" sz="1400" b="1" dirty="0">
                <a:solidFill>
                  <a:prstClr val="black"/>
                </a:solidFill>
              </a:rPr>
              <a:t>BI &amp; Data Visualization with </a:t>
            </a:r>
            <a:r>
              <a:rPr lang="en-US" sz="1400" b="1" dirty="0" err="1" smtClean="0">
                <a:solidFill>
                  <a:prstClr val="black"/>
                </a:solidFill>
              </a:rPr>
              <a:t>Qlikview</a:t>
            </a:r>
            <a:r>
              <a:rPr lang="en-US" sz="1400" b="1" dirty="0" smtClean="0">
                <a:solidFill>
                  <a:prstClr val="black"/>
                </a:solidFill>
              </a:rPr>
              <a:t> Course by </a:t>
            </a:r>
            <a:r>
              <a:rPr lang="en-US" sz="1400" b="1" dirty="0" err="1" smtClean="0">
                <a:solidFill>
                  <a:prstClr val="black"/>
                </a:solidFill>
              </a:rPr>
              <a:t>Edureka</a:t>
            </a:r>
            <a:endParaRPr lang="en-US" sz="1400" b="1" dirty="0" smtClean="0">
              <a:solidFill>
                <a:srgbClr val="000000"/>
              </a:solidFill>
              <a:cs typeface="HP Simplified" pitchFamily="34" charset="0"/>
            </a:endParaRPr>
          </a:p>
        </p:txBody>
      </p:sp>
      <p:sp>
        <p:nvSpPr>
          <p:cNvPr id="5" name="Round Diagonal Corner Rectangle 4"/>
          <p:cNvSpPr/>
          <p:nvPr/>
        </p:nvSpPr>
        <p:spPr>
          <a:xfrm>
            <a:off x="341593" y="2438920"/>
            <a:ext cx="8539760" cy="2240084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r>
              <a:rPr lang="en-US" sz="1200" b="1" dirty="0" err="1" smtClean="0">
                <a:solidFill>
                  <a:prstClr val="black"/>
                </a:solidFill>
              </a:rPr>
              <a:t>Edureka's</a:t>
            </a:r>
            <a:r>
              <a:rPr lang="en-US" sz="1200" b="1" dirty="0">
                <a:solidFill>
                  <a:prstClr val="black"/>
                </a:solidFill>
              </a:rPr>
              <a:t> BI &amp; Data Visualization with </a:t>
            </a:r>
            <a:r>
              <a:rPr lang="en-US" sz="1200" b="1" dirty="0" err="1" smtClean="0">
                <a:solidFill>
                  <a:prstClr val="black"/>
                </a:solidFill>
              </a:rPr>
              <a:t>Qlikview</a:t>
            </a:r>
            <a:r>
              <a:rPr lang="en-US" sz="1200" b="1" dirty="0" smtClean="0">
                <a:solidFill>
                  <a:prstClr val="black"/>
                </a:solidFill>
              </a:rPr>
              <a:t> course: </a:t>
            </a:r>
          </a:p>
          <a:p>
            <a:pPr defTabSz="457200"/>
            <a:endParaRPr lang="en-US" sz="1200" b="1" dirty="0" smtClean="0">
              <a:solidFill>
                <a:prstClr val="black"/>
              </a:solidFill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</a:rPr>
              <a:t>This course covers all the concepts of </a:t>
            </a:r>
            <a:r>
              <a:rPr lang="en-US" sz="1200" dirty="0" err="1">
                <a:solidFill>
                  <a:prstClr val="black"/>
                </a:solidFill>
              </a:rPr>
              <a:t>Qlikview</a:t>
            </a:r>
            <a:r>
              <a:rPr lang="en-US" sz="1200" dirty="0">
                <a:solidFill>
                  <a:prstClr val="black"/>
                </a:solidFill>
              </a:rPr>
              <a:t> tools like Data Interpretation, Designing, Modeling and then dives into advance features of </a:t>
            </a:r>
            <a:r>
              <a:rPr lang="en-US" sz="1200" dirty="0" err="1">
                <a:solidFill>
                  <a:prstClr val="black"/>
                </a:solidFill>
              </a:rPr>
              <a:t>Qlikview</a:t>
            </a:r>
            <a:r>
              <a:rPr lang="en-US" sz="1200" dirty="0">
                <a:solidFill>
                  <a:prstClr val="black"/>
                </a:solidFill>
              </a:rPr>
              <a:t> like </a:t>
            </a:r>
            <a:r>
              <a:rPr lang="en-US" sz="1200" dirty="0" err="1">
                <a:solidFill>
                  <a:prstClr val="black"/>
                </a:solidFill>
              </a:rPr>
              <a:t>Analyzying</a:t>
            </a:r>
            <a:r>
              <a:rPr lang="en-US" sz="1200" dirty="0">
                <a:solidFill>
                  <a:prstClr val="black"/>
                </a:solidFill>
              </a:rPr>
              <a:t> the data, Discovering the hidden data and generating attractive graphs and charts</a:t>
            </a:r>
            <a:r>
              <a:rPr lang="en-US" sz="1200" dirty="0" smtClean="0">
                <a:solidFill>
                  <a:prstClr val="black"/>
                </a:solidFill>
              </a:rPr>
              <a:t>.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You </a:t>
            </a:r>
            <a:r>
              <a:rPr lang="en-US" sz="1200" dirty="0">
                <a:solidFill>
                  <a:prstClr val="black"/>
                </a:solidFill>
              </a:rPr>
              <a:t>will </a:t>
            </a:r>
            <a:r>
              <a:rPr lang="en-US" sz="1200" dirty="0" smtClean="0">
                <a:solidFill>
                  <a:prstClr val="black"/>
                </a:solidFill>
              </a:rPr>
              <a:t>work </a:t>
            </a:r>
            <a:r>
              <a:rPr lang="en-US" sz="1200" dirty="0">
                <a:solidFill>
                  <a:prstClr val="black"/>
                </a:solidFill>
              </a:rPr>
              <a:t>on a real life Project, implementing data into image for </a:t>
            </a:r>
            <a:r>
              <a:rPr lang="en-US" sz="1200" dirty="0" smtClean="0">
                <a:solidFill>
                  <a:prstClr val="black"/>
                </a:solidFill>
              </a:rPr>
              <a:t>Dashboard.</a:t>
            </a:r>
            <a:endParaRPr lang="en-US" sz="1200" dirty="0">
              <a:solidFill>
                <a:prstClr val="black"/>
              </a:solidFill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Online Live Courses: 24 hours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Assignments: 25 hours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Project: 20 hours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Lifetime Access + 24 X 7 Support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1561897" y="1431801"/>
            <a:ext cx="6080166" cy="59815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2000" b="1" dirty="0">
                <a:solidFill>
                  <a:prstClr val="white"/>
                </a:solidFill>
              </a:rPr>
              <a:t>Go </a:t>
            </a:r>
            <a:r>
              <a:rPr lang="en-US" sz="2000" b="1" dirty="0" smtClean="0">
                <a:solidFill>
                  <a:prstClr val="white"/>
                </a:solidFill>
              </a:rPr>
              <a:t>to www.edureka.co/qlikview</a:t>
            </a:r>
            <a:endParaRPr lang="en-US" sz="2000" b="1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445307" y="2088235"/>
            <a:ext cx="4227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sz="1400" i="1" dirty="0" smtClean="0">
                <a:solidFill>
                  <a:srgbClr val="000000"/>
                </a:solidFill>
                <a:cs typeface="HP Simplified" pitchFamily="34" charset="0"/>
              </a:rPr>
              <a:t>Batch starts from 7</a:t>
            </a:r>
            <a:r>
              <a:rPr lang="en-US" sz="1400" i="1" baseline="30000" dirty="0" smtClean="0">
                <a:solidFill>
                  <a:srgbClr val="000000"/>
                </a:solidFill>
                <a:cs typeface="HP Simplified" pitchFamily="34" charset="0"/>
              </a:rPr>
              <a:t>th</a:t>
            </a:r>
            <a:r>
              <a:rPr lang="en-US" sz="1400" i="1" dirty="0" smtClean="0">
                <a:solidFill>
                  <a:srgbClr val="000000"/>
                </a:solidFill>
                <a:cs typeface="HP Simplified" pitchFamily="34" charset="0"/>
              </a:rPr>
              <a:t> November (Weekend)</a:t>
            </a:r>
          </a:p>
        </p:txBody>
      </p:sp>
      <p:pic>
        <p:nvPicPr>
          <p:cNvPr id="8" name="Picture 7"/>
          <p:cNvPicPr preferRelativeResize="0">
            <a:picLocks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59" t="36990" r="29991" b="33407"/>
          <a:stretch/>
        </p:blipFill>
        <p:spPr bwMode="auto">
          <a:xfrm>
            <a:off x="1561897" y="770013"/>
            <a:ext cx="572119" cy="6035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3143070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Shape 356"/>
          <p:cNvSpPr txBox="1"/>
          <p:nvPr/>
        </p:nvSpPr>
        <p:spPr>
          <a:xfrm>
            <a:off x="398837" y="145918"/>
            <a:ext cx="6313247" cy="49244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r>
              <a:rPr lang="en-IN" sz="2600" dirty="0" smtClean="0">
                <a:solidFill>
                  <a:srgbClr val="262626"/>
                </a:solidFill>
                <a:ea typeface="Calibri"/>
                <a:cs typeface="Calibri"/>
                <a:sym typeface="Calibri"/>
              </a:rPr>
              <a:t>Survey</a:t>
            </a:r>
            <a:endParaRPr lang="en-IN" sz="2600" dirty="0">
              <a:solidFill>
                <a:srgbClr val="262626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40746" y="1117408"/>
            <a:ext cx="8476794" cy="11798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Your feedback is vital for us, be it a compliment, a suggestion or a complaint. </a:t>
            </a:r>
            <a:r>
              <a:rPr lang="en-IN" sz="16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t </a:t>
            </a:r>
            <a: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elps us to make your experience better</a:t>
            </a:r>
            <a:r>
              <a:rPr lang="en-IN" sz="16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!</a:t>
            </a:r>
          </a:p>
          <a:p>
            <a:pPr defTabSz="430213">
              <a:spcAft>
                <a:spcPts val="400"/>
              </a:spcAft>
              <a:buSzPct val="100000"/>
            </a:pPr>
            <a:endParaRPr lang="en-IN" sz="1600" dirty="0">
              <a:solidFill>
                <a:srgbClr val="26262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defTabSz="430213">
              <a:spcAft>
                <a:spcPts val="400"/>
              </a:spcAft>
              <a:buSzPct val="100000"/>
            </a:pPr>
            <a:r>
              <a:rPr lang="en-IN" sz="16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lease </a:t>
            </a:r>
            <a:r>
              <a:rPr lang="en-IN" sz="16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pare few minutes to take the survey after the webinar. </a:t>
            </a:r>
          </a:p>
        </p:txBody>
      </p:sp>
    </p:spTree>
    <p:extLst>
      <p:ext uri="{BB962C8B-B14F-4D97-AF65-F5344CB8AC3E}">
        <p14:creationId xmlns:p14="http://schemas.microsoft.com/office/powerpoint/2010/main" val="644276824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ank You …</a:t>
            </a:r>
          </a:p>
          <a:p>
            <a:pPr defTabSz="457200"/>
            <a:endParaRPr lang="en-US" sz="3200" b="1" dirty="0" smtClean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457200"/>
            <a:r>
              <a:rPr lang="en-US" sz="32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Questions/Queries/Feedback</a:t>
            </a:r>
            <a:endParaRPr lang="en-US" sz="32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457200"/>
            <a:endParaRPr lang="en-US" sz="2000" b="1" dirty="0" smtClean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457200"/>
            <a:r>
              <a:rPr lang="en-US" sz="20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Recording and presentation will be made available to you within 24 hours</a:t>
            </a:r>
            <a:endParaRPr lang="en-US" sz="20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0620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smtClean="0">
                <a:solidFill>
                  <a:prstClr val="black"/>
                </a:solidFill>
              </a:rPr>
              <a:t>What will you learn today?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935943" y="1291085"/>
            <a:ext cx="3413050" cy="25391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endParaRPr lang="en-US" b="1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defTabSz="914400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rief history of </a:t>
            </a:r>
            <a:r>
              <a:rPr lang="en-US" sz="12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QlikView</a:t>
            </a:r>
            <a:endParaRPr lang="en-US" sz="1200" dirty="0" smtClean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defTabSz="914400">
              <a:buFont typeface="Wingdings" panose="05000000000000000000" pitchFamily="2" charset="2"/>
              <a:buChar char="ü"/>
            </a:pPr>
            <a:endParaRPr lang="en-US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defTabSz="914400">
              <a:buFont typeface="Wingdings" panose="05000000000000000000" pitchFamily="2" charset="2"/>
              <a:buChar char="ü"/>
            </a:pPr>
            <a:r>
              <a:rPr lang="en-US" sz="12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y </a:t>
            </a:r>
            <a:r>
              <a:rPr lang="en-US" sz="12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QlikView</a:t>
            </a:r>
            <a:r>
              <a:rPr lang="en-US" sz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s compare to other BI </a:t>
            </a:r>
            <a:r>
              <a:rPr lang="en-US" sz="12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ols</a:t>
            </a:r>
          </a:p>
          <a:p>
            <a:pPr marL="285750" indent="-285750" defTabSz="914400">
              <a:buFont typeface="Wingdings" panose="05000000000000000000" pitchFamily="2" charset="2"/>
              <a:buChar char="ü"/>
            </a:pPr>
            <a:endParaRPr lang="en-US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defTabSz="914400">
              <a:buFont typeface="Wingdings" panose="05000000000000000000" pitchFamily="2" charset="2"/>
              <a:buChar char="ü"/>
            </a:pPr>
            <a:r>
              <a:rPr lang="en-US" sz="12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reer </a:t>
            </a:r>
            <a:r>
              <a:rPr lang="en-US" sz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portunities with </a:t>
            </a:r>
            <a:r>
              <a:rPr lang="en-US" sz="12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QlikView</a:t>
            </a:r>
            <a:endParaRPr lang="en-US" sz="1200" dirty="0" smtClean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defTabSz="914400">
              <a:buFont typeface="Wingdings" panose="05000000000000000000" pitchFamily="2" charset="2"/>
              <a:buChar char="ü"/>
            </a:pPr>
            <a:endParaRPr lang="en-US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defTabSz="914400">
              <a:buFont typeface="Wingdings" panose="05000000000000000000" pitchFamily="2" charset="2"/>
              <a:buChar char="ü"/>
            </a:pPr>
            <a:r>
              <a:rPr lang="en-US" sz="12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dvantages </a:t>
            </a:r>
            <a:r>
              <a:rPr lang="en-US" sz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 using </a:t>
            </a:r>
            <a:r>
              <a:rPr lang="en-US" sz="12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QlikView</a:t>
            </a:r>
            <a:endParaRPr lang="en-US" sz="1200" dirty="0" smtClean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defTabSz="914400">
              <a:buFont typeface="Wingdings" panose="05000000000000000000" pitchFamily="2" charset="2"/>
              <a:buChar char="ü"/>
            </a:pPr>
            <a:endParaRPr lang="en-US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defTabSz="914400">
              <a:buFont typeface="Wingdings" panose="05000000000000000000" pitchFamily="2" charset="2"/>
              <a:buChar char="ü"/>
            </a:pPr>
            <a:r>
              <a:rPr lang="en-US" sz="12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w </a:t>
            </a:r>
            <a:r>
              <a:rPr lang="en-US" sz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panies are adopting </a:t>
            </a:r>
            <a:r>
              <a:rPr lang="en-US" sz="12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Q</a:t>
            </a:r>
            <a:r>
              <a:rPr lang="en-US" sz="12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kView</a:t>
            </a:r>
            <a:endParaRPr lang="en-US" sz="1200" dirty="0" smtClean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defTabSz="914400">
              <a:buFont typeface="Wingdings" panose="05000000000000000000" pitchFamily="2" charset="2"/>
              <a:buChar char="ü"/>
            </a:pPr>
            <a:endParaRPr lang="en-US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defTabSz="914400">
              <a:buFont typeface="Wingdings" panose="05000000000000000000" pitchFamily="2" charset="2"/>
              <a:buChar char="ü"/>
            </a:pPr>
            <a:r>
              <a:rPr lang="en-US" sz="12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nds On </a:t>
            </a:r>
            <a:r>
              <a:rPr lang="en-US" sz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ample</a:t>
            </a:r>
          </a:p>
          <a:p>
            <a:pPr defTabSz="914400"/>
            <a:endParaRPr lang="en-US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5612524" y="1370506"/>
            <a:ext cx="2458192" cy="2459736"/>
          </a:xfrm>
          <a:prstGeom prst="ellipse">
            <a:avLst/>
          </a:prstGeom>
          <a:solidFill>
            <a:srgbClr val="0F6FC6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1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564" y="146959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8460" y="234000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765" y="234000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564" y="316838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101"/>
          <p:cNvGrpSpPr>
            <a:grpSpLocks/>
          </p:cNvGrpSpPr>
          <p:nvPr/>
        </p:nvGrpSpPr>
        <p:grpSpPr>
          <a:xfrm>
            <a:off x="6567300" y="2224384"/>
            <a:ext cx="612648" cy="603504"/>
            <a:chOff x="2644022" y="3804641"/>
            <a:chExt cx="258802" cy="373251"/>
          </a:xfrm>
          <a:solidFill>
            <a:sysClr val="window" lastClr="FFFFFF"/>
          </a:solidFill>
        </p:grpSpPr>
        <p:grpSp>
          <p:nvGrpSpPr>
            <p:cNvPr id="36" name="Group 35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38" name="Freeform 37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7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0" name="Oval 39"/>
          <p:cNvSpPr/>
          <p:nvPr/>
        </p:nvSpPr>
        <p:spPr>
          <a:xfrm>
            <a:off x="5541269" y="1289793"/>
            <a:ext cx="2612574" cy="2615184"/>
          </a:xfrm>
          <a:prstGeom prst="ellipse">
            <a:avLst/>
          </a:prstGeom>
          <a:noFill/>
          <a:ln w="19050" cap="flat" cmpd="sng" algn="ctr">
            <a:solidFill>
              <a:srgbClr val="0F6FC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1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1837" y="233778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105382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rief history of </a:t>
            </a:r>
            <a:r>
              <a:rPr lang="en-US" dirty="0" err="1" smtClean="0"/>
              <a:t>QlikView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09383703"/>
              </p:ext>
            </p:extLst>
          </p:nvPr>
        </p:nvGraphicFramePr>
        <p:xfrm>
          <a:off x="477296" y="823118"/>
          <a:ext cx="7886700" cy="39277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31539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</a:t>
            </a:r>
            <a:r>
              <a:rPr lang="en-US" dirty="0" err="1" smtClean="0"/>
              <a:t>QlikView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en-US" dirty="0" smtClean="0">
                <a:solidFill>
                  <a:srgbClr val="0070C0"/>
                </a:solidFill>
              </a:rPr>
              <a:t> Patented in-memory technology</a:t>
            </a:r>
          </a:p>
          <a:p>
            <a:pPr>
              <a:lnSpc>
                <a:spcPct val="300000"/>
              </a:lnSpc>
            </a:pP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smtClean="0">
                <a:solidFill>
                  <a:srgbClr val="0070C0"/>
                </a:solidFill>
              </a:rPr>
              <a:t>Faster BI solutions development</a:t>
            </a:r>
          </a:p>
          <a:p>
            <a:pPr>
              <a:lnSpc>
                <a:spcPct val="300000"/>
              </a:lnSpc>
            </a:pPr>
            <a:r>
              <a:rPr lang="en-US" dirty="0" smtClean="0">
                <a:solidFill>
                  <a:srgbClr val="0070C0"/>
                </a:solidFill>
              </a:rPr>
              <a:t> Complete suite for R&amp;A (Integration -&gt; Modeling -&gt; Presentation)</a:t>
            </a:r>
          </a:p>
          <a:p>
            <a:pPr>
              <a:lnSpc>
                <a:spcPct val="300000"/>
              </a:lnSpc>
            </a:pPr>
            <a:r>
              <a:rPr lang="en-US" dirty="0" smtClean="0">
                <a:solidFill>
                  <a:srgbClr val="0070C0"/>
                </a:solidFill>
              </a:rPr>
              <a:t> Associative User Experience</a:t>
            </a:r>
            <a:endParaRPr lang="en-US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392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-Memory Technology</a:t>
            </a:r>
            <a:endParaRPr lang="en-US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9732" y="1290084"/>
            <a:ext cx="3517437" cy="2571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398" y="1468402"/>
            <a:ext cx="3577506" cy="2503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179353439"/>
              </p:ext>
            </p:extLst>
          </p:nvPr>
        </p:nvGraphicFramePr>
        <p:xfrm>
          <a:off x="4064742" y="2369423"/>
          <a:ext cx="1435007" cy="6207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042145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ster BI Solutions Development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1984" y="1314453"/>
            <a:ext cx="5739961" cy="3538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30174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lete suite for R&amp;A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2102" y="1546008"/>
            <a:ext cx="5399632" cy="3368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930310484"/>
              </p:ext>
            </p:extLst>
          </p:nvPr>
        </p:nvGraphicFramePr>
        <p:xfrm>
          <a:off x="1722008" y="753324"/>
          <a:ext cx="5757821" cy="7550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10671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/>
            <a:r>
              <a:rPr lang="en-US" dirty="0"/>
              <a:t>Associative user experience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0181" y="1259159"/>
            <a:ext cx="5280929" cy="2957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1651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jor </a:t>
            </a:r>
            <a:r>
              <a:rPr lang="en-US" dirty="0"/>
              <a:t>Companies using </a:t>
            </a:r>
            <a:r>
              <a:rPr lang="en-US" dirty="0" err="1" smtClean="0"/>
              <a:t>Qlikview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243" y="1515657"/>
            <a:ext cx="1871663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5125" y="1885950"/>
            <a:ext cx="3333750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8074" y="1023937"/>
            <a:ext cx="2647950" cy="172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7580" y="3491573"/>
            <a:ext cx="3648075" cy="125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7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298" y="3121871"/>
            <a:ext cx="2619375" cy="174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0330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ebinar Template">
  <a:themeElements>
    <a:clrScheme name="Fresh">
      <a:dk1>
        <a:srgbClr val="262626"/>
      </a:dk1>
      <a:lt1>
        <a:sysClr val="window" lastClr="FFFFFF"/>
      </a:lt1>
      <a:dk2>
        <a:srgbClr val="595959"/>
      </a:dk2>
      <a:lt2>
        <a:srgbClr val="EEECE1"/>
      </a:lt2>
      <a:accent1>
        <a:srgbClr val="F4891E"/>
      </a:accent1>
      <a:accent2>
        <a:srgbClr val="7BCF27"/>
      </a:accent2>
      <a:accent3>
        <a:srgbClr val="9BBB59"/>
      </a:accent3>
      <a:accent4>
        <a:srgbClr val="00B0F0"/>
      </a:accent4>
      <a:accent5>
        <a:srgbClr val="4BACC6"/>
      </a:accent5>
      <a:accent6>
        <a:srgbClr val="F79646"/>
      </a:accent6>
      <a:hlink>
        <a:srgbClr val="00B0F0"/>
      </a:hlink>
      <a:folHlink>
        <a:srgbClr val="F4891E"/>
      </a:folHlink>
    </a:clrScheme>
    <a:fontScheme name="Custom 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C61A638F-D534-4893-8334-C3557A3DF38E}" vid="{7A7BC7EA-CE97-4DE6-9916-D3AFDCC7F7FC}"/>
    </a:ext>
  </a:extLst>
</a:theme>
</file>

<file path=ppt/theme/theme2.xml><?xml version="1.0" encoding="utf-8"?>
<a:theme xmlns:a="http://schemas.openxmlformats.org/drawingml/2006/main" name="Brain4ce_course_templat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Custom 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ebinar EdurekaTemplate" id="{452A3A16-C0C5-41A8-9027-3FB0E2E247B2}" vid="{95E9C04D-E104-4D45-BFF2-79ABBB5D25AF}"/>
    </a:ext>
  </a:extLst>
</a:theme>
</file>

<file path=ppt/theme/theme3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ebinar Template</Template>
  <TotalTime>922</TotalTime>
  <Words>478</Words>
  <Application>Microsoft Office PowerPoint</Application>
  <PresentationFormat>On-screen Show (16:9)</PresentationFormat>
  <Paragraphs>78</Paragraphs>
  <Slides>1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0" baseType="lpstr">
      <vt:lpstr>Arial</vt:lpstr>
      <vt:lpstr>Calibri</vt:lpstr>
      <vt:lpstr>Castellar</vt:lpstr>
      <vt:lpstr>HP Simplified</vt:lpstr>
      <vt:lpstr>Lucida Grande</vt:lpstr>
      <vt:lpstr>Symbol</vt:lpstr>
      <vt:lpstr>Tahoma</vt:lpstr>
      <vt:lpstr>Wingdings</vt:lpstr>
      <vt:lpstr>Webinar Template</vt:lpstr>
      <vt:lpstr>Brain4ce_course_template</vt:lpstr>
      <vt:lpstr>HP_PPT_Standard_16x9</vt:lpstr>
      <vt:lpstr>Office Theme</vt:lpstr>
      <vt:lpstr>think-cell Slide</vt:lpstr>
      <vt:lpstr>PowerPoint Presentation</vt:lpstr>
      <vt:lpstr>PowerPoint Presentation</vt:lpstr>
      <vt:lpstr>Brief history of QlikView</vt:lpstr>
      <vt:lpstr>Why QlikView?</vt:lpstr>
      <vt:lpstr>In-Memory Technology</vt:lpstr>
      <vt:lpstr>Faster BI Solutions Development</vt:lpstr>
      <vt:lpstr>Complete suite for R&amp;A</vt:lpstr>
      <vt:lpstr>Associative user experience</vt:lpstr>
      <vt:lpstr>Major Companies using Qlikview</vt:lpstr>
      <vt:lpstr>Salary Trends in India</vt:lpstr>
      <vt:lpstr>Job Trends in India</vt:lpstr>
      <vt:lpstr>Advantages of using QlikView</vt:lpstr>
      <vt:lpstr>Ways company adopting QlikView</vt:lpstr>
      <vt:lpstr>PowerPoint Presentation</vt:lpstr>
      <vt:lpstr>PowerPoint Presentation</vt:lpstr>
      <vt:lpstr>PowerPoint Presentation</vt:lpstr>
      <vt:lpstr>PowerPoint Presentation</vt:lpstr>
    </vt:vector>
  </TitlesOfParts>
  <Company>Red Ha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agarwa</dc:creator>
  <cp:lastModifiedBy>Awanish</cp:lastModifiedBy>
  <cp:revision>53</cp:revision>
  <dcterms:created xsi:type="dcterms:W3CDTF">2015-08-15T13:11:29Z</dcterms:created>
  <dcterms:modified xsi:type="dcterms:W3CDTF">2015-10-26T10:18:32Z</dcterms:modified>
</cp:coreProperties>
</file>